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6" r:id="rId4"/>
  </p:sldMasterIdLst>
  <p:notesMasterIdLst>
    <p:notesMasterId r:id="rId11"/>
  </p:notesMasterIdLst>
  <p:handoutMasterIdLst>
    <p:handoutMasterId r:id="rId12"/>
  </p:handoutMasterIdLst>
  <p:sldIdLst>
    <p:sldId id="2147481513" r:id="rId5"/>
    <p:sldId id="2147481963" r:id="rId6"/>
    <p:sldId id="2147481514" r:id="rId7"/>
    <p:sldId id="2147481964" r:id="rId8"/>
    <p:sldId id="2147481965" r:id="rId9"/>
    <p:sldId id="2147481966" r:id="rId1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3EC78A0-6B5A-457C-A9DD-983FA4E0101D}">
          <p14:sldIdLst>
            <p14:sldId id="2147481513"/>
            <p14:sldId id="2147481963"/>
            <p14:sldId id="2147481514"/>
            <p14:sldId id="2147481964"/>
            <p14:sldId id="2147481965"/>
            <p14:sldId id="2147481966"/>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7875788-3097-920E-0AC0-AA01747351C3}" name="Metni, Mia" initials="MM" userId="S::Mia.Metni@capco.com::4c5a2492-817b-402f-b609-a7f0770ba99f" providerId="AD"/>
  <p188:author id="{5B5709B9-E4D4-530F-62E0-DB2EC8B2325E}" name="Shlyankevich, Levi" initials="LS" userId="S::Levi.Shlyankevich@capco.com::3eec013e-097b-4d68-bc13-77a642c176c1"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A66AC"/>
    <a:srgbClr val="5AA2AE"/>
    <a:srgbClr val="297FD5"/>
    <a:srgbClr val="629DD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4A16CB7-192A-482D-9241-C7179EF1D9AD}" v="4" dt="2024-10-18T14:12:11.23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5" d="100"/>
          <a:sy n="55" d="100"/>
        </p:scale>
        <p:origin x="1072" y="36"/>
      </p:cViewPr>
      <p:guideLst/>
    </p:cSldViewPr>
  </p:slideViewPr>
  <p:notesTextViewPr>
    <p:cViewPr>
      <p:scale>
        <a:sx n="1" d="1"/>
        <a:sy n="1" d="1"/>
      </p:scale>
      <p:origin x="0" y="0"/>
    </p:cViewPr>
  </p:notesTextViewPr>
  <p:notesViewPr>
    <p:cSldViewPr snapToGrid="0">
      <p:cViewPr varScale="1">
        <p:scale>
          <a:sx n="45" d="100"/>
          <a:sy n="45" d="100"/>
        </p:scale>
        <p:origin x="2828" y="4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presProps" Target="presProps.xml"/><Relationship Id="rId18"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handoutMaster" Target="handoutMasters/handoutMaster1.xml"/><Relationship Id="rId17"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theme" Target="theme/theme1.xml"/><Relationship Id="rId10" Type="http://schemas.openxmlformats.org/officeDocument/2006/relationships/slide" Target="slides/slide6.xml"/><Relationship Id="rId19"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ingh Thakur, Vighnesh" userId="3dba02e5-1184-452b-a9ab-736aa77ea9b0" providerId="ADAL" clId="{64A16CB7-192A-482D-9241-C7179EF1D9AD}"/>
    <pc:docChg chg="custSel addSld delSld modSld delMainMaster modMainMaster modSection">
      <pc:chgData name="Singh Thakur, Vighnesh" userId="3dba02e5-1184-452b-a9ab-736aa77ea9b0" providerId="ADAL" clId="{64A16CB7-192A-482D-9241-C7179EF1D9AD}" dt="2024-10-18T14:13:17.652" v="101"/>
      <pc:docMkLst>
        <pc:docMk/>
      </pc:docMkLst>
      <pc:sldChg chg="modSp mod">
        <pc:chgData name="Singh Thakur, Vighnesh" userId="3dba02e5-1184-452b-a9ab-736aa77ea9b0" providerId="ADAL" clId="{64A16CB7-192A-482D-9241-C7179EF1D9AD}" dt="2024-10-18T13:58:39.952" v="22" actId="255"/>
        <pc:sldMkLst>
          <pc:docMk/>
          <pc:sldMk cId="1372497852" sldId="2147481513"/>
        </pc:sldMkLst>
        <pc:spChg chg="mod">
          <ac:chgData name="Singh Thakur, Vighnesh" userId="3dba02e5-1184-452b-a9ab-736aa77ea9b0" providerId="ADAL" clId="{64A16CB7-192A-482D-9241-C7179EF1D9AD}" dt="2024-10-18T13:58:31.166" v="21" actId="20577"/>
          <ac:spMkLst>
            <pc:docMk/>
            <pc:sldMk cId="1372497852" sldId="2147481513"/>
            <ac:spMk id="8" creationId="{534A39DF-839D-BB76-CC4E-B315C3F87DD5}"/>
          </ac:spMkLst>
        </pc:spChg>
        <pc:spChg chg="mod">
          <ac:chgData name="Singh Thakur, Vighnesh" userId="3dba02e5-1184-452b-a9ab-736aa77ea9b0" providerId="ADAL" clId="{64A16CB7-192A-482D-9241-C7179EF1D9AD}" dt="2024-10-18T13:58:39.952" v="22" actId="255"/>
          <ac:spMkLst>
            <pc:docMk/>
            <pc:sldMk cId="1372497852" sldId="2147481513"/>
            <ac:spMk id="12" creationId="{98D9F6B3-34C8-31C6-6EAC-E6EAABFEB20E}"/>
          </ac:spMkLst>
        </pc:spChg>
      </pc:sldChg>
      <pc:sldChg chg="modSp mod">
        <pc:chgData name="Singh Thakur, Vighnesh" userId="3dba02e5-1184-452b-a9ab-736aa77ea9b0" providerId="ADAL" clId="{64A16CB7-192A-482D-9241-C7179EF1D9AD}" dt="2024-10-18T14:12:11.229" v="86"/>
        <pc:sldMkLst>
          <pc:docMk/>
          <pc:sldMk cId="800881119" sldId="2147481514"/>
        </pc:sldMkLst>
        <pc:spChg chg="mod">
          <ac:chgData name="Singh Thakur, Vighnesh" userId="3dba02e5-1184-452b-a9ab-736aa77ea9b0" providerId="ADAL" clId="{64A16CB7-192A-482D-9241-C7179EF1D9AD}" dt="2024-10-18T14:12:11.229" v="86"/>
          <ac:spMkLst>
            <pc:docMk/>
            <pc:sldMk cId="800881119" sldId="2147481514"/>
            <ac:spMk id="3" creationId="{5ECE2F01-0DF2-A153-F12A-F3E1CA6FEE64}"/>
          </ac:spMkLst>
        </pc:spChg>
        <pc:spChg chg="mod">
          <ac:chgData name="Singh Thakur, Vighnesh" userId="3dba02e5-1184-452b-a9ab-736aa77ea9b0" providerId="ADAL" clId="{64A16CB7-192A-482D-9241-C7179EF1D9AD}" dt="2024-10-18T14:01:44.990" v="33"/>
          <ac:spMkLst>
            <pc:docMk/>
            <pc:sldMk cId="800881119" sldId="2147481514"/>
            <ac:spMk id="31" creationId="{C3734B92-8FB3-7A36-B0A2-3FAB057635B9}"/>
          </ac:spMkLst>
        </pc:spChg>
        <pc:spChg chg="mod">
          <ac:chgData name="Singh Thakur, Vighnesh" userId="3dba02e5-1184-452b-a9ab-736aa77ea9b0" providerId="ADAL" clId="{64A16CB7-192A-482D-9241-C7179EF1D9AD}" dt="2024-10-18T14:01:56.721" v="34"/>
          <ac:spMkLst>
            <pc:docMk/>
            <pc:sldMk cId="800881119" sldId="2147481514"/>
            <ac:spMk id="37" creationId="{EF5D4CCC-3E85-1164-0A5C-CDC99D242749}"/>
          </ac:spMkLst>
        </pc:spChg>
        <pc:spChg chg="mod">
          <ac:chgData name="Singh Thakur, Vighnesh" userId="3dba02e5-1184-452b-a9ab-736aa77ea9b0" providerId="ADAL" clId="{64A16CB7-192A-482D-9241-C7179EF1D9AD}" dt="2024-10-18T14:02:08.511" v="35"/>
          <ac:spMkLst>
            <pc:docMk/>
            <pc:sldMk cId="800881119" sldId="2147481514"/>
            <ac:spMk id="43" creationId="{AE661B57-4393-64FB-759D-5E9BE166D076}"/>
          </ac:spMkLst>
        </pc:spChg>
        <pc:spChg chg="mod">
          <ac:chgData name="Singh Thakur, Vighnesh" userId="3dba02e5-1184-452b-a9ab-736aa77ea9b0" providerId="ADAL" clId="{64A16CB7-192A-482D-9241-C7179EF1D9AD}" dt="2024-10-18T14:02:18.479" v="36"/>
          <ac:spMkLst>
            <pc:docMk/>
            <pc:sldMk cId="800881119" sldId="2147481514"/>
            <ac:spMk id="50" creationId="{AE3826D6-BE59-3D05-36E1-A11E2CB9B0C6}"/>
          </ac:spMkLst>
        </pc:spChg>
      </pc:sldChg>
      <pc:sldChg chg="modSp mod">
        <pc:chgData name="Singh Thakur, Vighnesh" userId="3dba02e5-1184-452b-a9ab-736aa77ea9b0" providerId="ADAL" clId="{64A16CB7-192A-482D-9241-C7179EF1D9AD}" dt="2024-10-18T14:12:11.229" v="86"/>
        <pc:sldMkLst>
          <pc:docMk/>
          <pc:sldMk cId="1015261241" sldId="2147481963"/>
        </pc:sldMkLst>
        <pc:spChg chg="mod">
          <ac:chgData name="Singh Thakur, Vighnesh" userId="3dba02e5-1184-452b-a9ab-736aa77ea9b0" providerId="ADAL" clId="{64A16CB7-192A-482D-9241-C7179EF1D9AD}" dt="2024-10-18T14:12:11.229" v="86"/>
          <ac:spMkLst>
            <pc:docMk/>
            <pc:sldMk cId="1015261241" sldId="2147481963"/>
            <ac:spMk id="2" creationId="{DC1567E9-4620-9E71-D72C-BE3CC2C2DB7D}"/>
          </ac:spMkLst>
        </pc:spChg>
        <pc:spChg chg="mod">
          <ac:chgData name="Singh Thakur, Vighnesh" userId="3dba02e5-1184-452b-a9ab-736aa77ea9b0" providerId="ADAL" clId="{64A16CB7-192A-482D-9241-C7179EF1D9AD}" dt="2024-10-18T14:01:29.568" v="32"/>
          <ac:spMkLst>
            <pc:docMk/>
            <pc:sldMk cId="1015261241" sldId="2147481963"/>
            <ac:spMk id="3" creationId="{DE66B1AE-0194-EB84-A380-277547251C3B}"/>
          </ac:spMkLst>
        </pc:spChg>
        <pc:spChg chg="mod">
          <ac:chgData name="Singh Thakur, Vighnesh" userId="3dba02e5-1184-452b-a9ab-736aa77ea9b0" providerId="ADAL" clId="{64A16CB7-192A-482D-9241-C7179EF1D9AD}" dt="2024-10-18T14:00:05.026" v="26"/>
          <ac:spMkLst>
            <pc:docMk/>
            <pc:sldMk cId="1015261241" sldId="2147481963"/>
            <ac:spMk id="13" creationId="{8764EE55-D5F0-019E-AB86-E972BD79CC59}"/>
          </ac:spMkLst>
        </pc:spChg>
        <pc:spChg chg="mod">
          <ac:chgData name="Singh Thakur, Vighnesh" userId="3dba02e5-1184-452b-a9ab-736aa77ea9b0" providerId="ADAL" clId="{64A16CB7-192A-482D-9241-C7179EF1D9AD}" dt="2024-10-18T14:00:52.913" v="29"/>
          <ac:spMkLst>
            <pc:docMk/>
            <pc:sldMk cId="1015261241" sldId="2147481963"/>
            <ac:spMk id="15" creationId="{09FCDAD7-CEDD-6F47-9FA8-791DDD3EAEB0}"/>
          </ac:spMkLst>
        </pc:spChg>
        <pc:spChg chg="mod">
          <ac:chgData name="Singh Thakur, Vighnesh" userId="3dba02e5-1184-452b-a9ab-736aa77ea9b0" providerId="ADAL" clId="{64A16CB7-192A-482D-9241-C7179EF1D9AD}" dt="2024-10-18T14:00:24.668" v="27"/>
          <ac:spMkLst>
            <pc:docMk/>
            <pc:sldMk cId="1015261241" sldId="2147481963"/>
            <ac:spMk id="18" creationId="{29033DE6-66CF-6CC0-032D-526E1EBCA668}"/>
          </ac:spMkLst>
        </pc:spChg>
        <pc:spChg chg="mod">
          <ac:chgData name="Singh Thakur, Vighnesh" userId="3dba02e5-1184-452b-a9ab-736aa77ea9b0" providerId="ADAL" clId="{64A16CB7-192A-482D-9241-C7179EF1D9AD}" dt="2024-10-18T14:01:05.103" v="30"/>
          <ac:spMkLst>
            <pc:docMk/>
            <pc:sldMk cId="1015261241" sldId="2147481963"/>
            <ac:spMk id="20" creationId="{E5857BE1-7F47-EB38-B863-8C3DA37EFC60}"/>
          </ac:spMkLst>
        </pc:spChg>
        <pc:spChg chg="mod">
          <ac:chgData name="Singh Thakur, Vighnesh" userId="3dba02e5-1184-452b-a9ab-736aa77ea9b0" providerId="ADAL" clId="{64A16CB7-192A-482D-9241-C7179EF1D9AD}" dt="2024-10-18T14:00:39.529" v="28"/>
          <ac:spMkLst>
            <pc:docMk/>
            <pc:sldMk cId="1015261241" sldId="2147481963"/>
            <ac:spMk id="22" creationId="{ACAFD509-0037-AFFC-61D9-75F756B7E01E}"/>
          </ac:spMkLst>
        </pc:spChg>
        <pc:spChg chg="mod">
          <ac:chgData name="Singh Thakur, Vighnesh" userId="3dba02e5-1184-452b-a9ab-736aa77ea9b0" providerId="ADAL" clId="{64A16CB7-192A-482D-9241-C7179EF1D9AD}" dt="2024-10-18T14:01:15.310" v="31"/>
          <ac:spMkLst>
            <pc:docMk/>
            <pc:sldMk cId="1015261241" sldId="2147481963"/>
            <ac:spMk id="24" creationId="{3E352745-2E53-55DB-71F7-29616B32B653}"/>
          </ac:spMkLst>
        </pc:spChg>
        <pc:spChg chg="mod">
          <ac:chgData name="Singh Thakur, Vighnesh" userId="3dba02e5-1184-452b-a9ab-736aa77ea9b0" providerId="ADAL" clId="{64A16CB7-192A-482D-9241-C7179EF1D9AD}" dt="2024-10-18T13:59:20.479" v="25" actId="20577"/>
          <ac:spMkLst>
            <pc:docMk/>
            <pc:sldMk cId="1015261241" sldId="2147481963"/>
            <ac:spMk id="34" creationId="{4D00D07D-DA5D-4DA0-F689-D60E0BBDCDD0}"/>
          </ac:spMkLst>
        </pc:spChg>
      </pc:sldChg>
      <pc:sldChg chg="modSp mod">
        <pc:chgData name="Singh Thakur, Vighnesh" userId="3dba02e5-1184-452b-a9ab-736aa77ea9b0" providerId="ADAL" clId="{64A16CB7-192A-482D-9241-C7179EF1D9AD}" dt="2024-10-18T14:12:11.229" v="86"/>
        <pc:sldMkLst>
          <pc:docMk/>
          <pc:sldMk cId="1294612613" sldId="2147481964"/>
        </pc:sldMkLst>
        <pc:spChg chg="mod">
          <ac:chgData name="Singh Thakur, Vighnesh" userId="3dba02e5-1184-452b-a9ab-736aa77ea9b0" providerId="ADAL" clId="{64A16CB7-192A-482D-9241-C7179EF1D9AD}" dt="2024-10-18T14:12:11.229" v="86"/>
          <ac:spMkLst>
            <pc:docMk/>
            <pc:sldMk cId="1294612613" sldId="2147481964"/>
            <ac:spMk id="3" creationId="{8D84A8A2-D103-1296-953E-916A113B7288}"/>
          </ac:spMkLst>
        </pc:spChg>
        <pc:spChg chg="mod">
          <ac:chgData name="Singh Thakur, Vighnesh" userId="3dba02e5-1184-452b-a9ab-736aa77ea9b0" providerId="ADAL" clId="{64A16CB7-192A-482D-9241-C7179EF1D9AD}" dt="2024-10-18T14:02:43.378" v="38"/>
          <ac:spMkLst>
            <pc:docMk/>
            <pc:sldMk cId="1294612613" sldId="2147481964"/>
            <ac:spMk id="4" creationId="{609586FB-FD6D-7BCF-C84A-C482A20AFBDE}"/>
          </ac:spMkLst>
        </pc:spChg>
        <pc:spChg chg="mod">
          <ac:chgData name="Singh Thakur, Vighnesh" userId="3dba02e5-1184-452b-a9ab-736aa77ea9b0" providerId="ADAL" clId="{64A16CB7-192A-482D-9241-C7179EF1D9AD}" dt="2024-10-18T14:03:46.975" v="46"/>
          <ac:spMkLst>
            <pc:docMk/>
            <pc:sldMk cId="1294612613" sldId="2147481964"/>
            <ac:spMk id="12" creationId="{27D9BBD4-340E-106D-B353-6B67B2E379BA}"/>
          </ac:spMkLst>
        </pc:spChg>
        <pc:spChg chg="mod">
          <ac:chgData name="Singh Thakur, Vighnesh" userId="3dba02e5-1184-452b-a9ab-736aa77ea9b0" providerId="ADAL" clId="{64A16CB7-192A-482D-9241-C7179EF1D9AD}" dt="2024-10-18T14:03:28.665" v="45" actId="20577"/>
          <ac:spMkLst>
            <pc:docMk/>
            <pc:sldMk cId="1294612613" sldId="2147481964"/>
            <ac:spMk id="13" creationId="{76BB443E-BA01-F3EF-D7E1-A1EC81A5B47B}"/>
          </ac:spMkLst>
        </pc:spChg>
        <pc:spChg chg="mod">
          <ac:chgData name="Singh Thakur, Vighnesh" userId="3dba02e5-1184-452b-a9ab-736aa77ea9b0" providerId="ADAL" clId="{64A16CB7-192A-482D-9241-C7179EF1D9AD}" dt="2024-10-18T14:02:52.395" v="39"/>
          <ac:spMkLst>
            <pc:docMk/>
            <pc:sldMk cId="1294612613" sldId="2147481964"/>
            <ac:spMk id="25" creationId="{426DEB4C-41C0-A922-57DF-3D69527C1199}"/>
          </ac:spMkLst>
        </pc:spChg>
        <pc:spChg chg="mod">
          <ac:chgData name="Singh Thakur, Vighnesh" userId="3dba02e5-1184-452b-a9ab-736aa77ea9b0" providerId="ADAL" clId="{64A16CB7-192A-482D-9241-C7179EF1D9AD}" dt="2024-10-18T14:03:02.915" v="40"/>
          <ac:spMkLst>
            <pc:docMk/>
            <pc:sldMk cId="1294612613" sldId="2147481964"/>
            <ac:spMk id="26" creationId="{689A53CF-7591-2CE6-F03B-6D4C1BDDFDE0}"/>
          </ac:spMkLst>
        </pc:spChg>
      </pc:sldChg>
      <pc:sldChg chg="modSp mod">
        <pc:chgData name="Singh Thakur, Vighnesh" userId="3dba02e5-1184-452b-a9ab-736aa77ea9b0" providerId="ADAL" clId="{64A16CB7-192A-482D-9241-C7179EF1D9AD}" dt="2024-10-18T14:12:11.229" v="86"/>
        <pc:sldMkLst>
          <pc:docMk/>
          <pc:sldMk cId="2301532117" sldId="2147481965"/>
        </pc:sldMkLst>
        <pc:spChg chg="mod">
          <ac:chgData name="Singh Thakur, Vighnesh" userId="3dba02e5-1184-452b-a9ab-736aa77ea9b0" providerId="ADAL" clId="{64A16CB7-192A-482D-9241-C7179EF1D9AD}" dt="2024-10-18T14:12:11.229" v="86"/>
          <ac:spMkLst>
            <pc:docMk/>
            <pc:sldMk cId="2301532117" sldId="2147481965"/>
            <ac:spMk id="3" creationId="{537AB4D0-50DB-C3C2-3F6A-295C682B325E}"/>
          </ac:spMkLst>
        </pc:spChg>
        <pc:spChg chg="mod">
          <ac:chgData name="Singh Thakur, Vighnesh" userId="3dba02e5-1184-452b-a9ab-736aa77ea9b0" providerId="ADAL" clId="{64A16CB7-192A-482D-9241-C7179EF1D9AD}" dt="2024-10-18T14:05:13.561" v="53"/>
          <ac:spMkLst>
            <pc:docMk/>
            <pc:sldMk cId="2301532117" sldId="2147481965"/>
            <ac:spMk id="8" creationId="{999CDA7F-9C3E-CDE1-0074-CF3F0B597761}"/>
          </ac:spMkLst>
        </pc:spChg>
        <pc:spChg chg="mod">
          <ac:chgData name="Singh Thakur, Vighnesh" userId="3dba02e5-1184-452b-a9ab-736aa77ea9b0" providerId="ADAL" clId="{64A16CB7-192A-482D-9241-C7179EF1D9AD}" dt="2024-10-18T14:04:15.783" v="49" actId="20577"/>
          <ac:spMkLst>
            <pc:docMk/>
            <pc:sldMk cId="2301532117" sldId="2147481965"/>
            <ac:spMk id="10" creationId="{DA2677A7-C996-711D-1C86-B1135F1A71F6}"/>
          </ac:spMkLst>
        </pc:spChg>
        <pc:spChg chg="mod">
          <ac:chgData name="Singh Thakur, Vighnesh" userId="3dba02e5-1184-452b-a9ab-736aa77ea9b0" providerId="ADAL" clId="{64A16CB7-192A-482D-9241-C7179EF1D9AD}" dt="2024-10-18T14:04:46.255" v="52" actId="113"/>
          <ac:spMkLst>
            <pc:docMk/>
            <pc:sldMk cId="2301532117" sldId="2147481965"/>
            <ac:spMk id="11" creationId="{C7E640F0-61D5-ABDA-5AF3-785F6E331C15}"/>
          </ac:spMkLst>
        </pc:spChg>
        <pc:spChg chg="mod">
          <ac:chgData name="Singh Thakur, Vighnesh" userId="3dba02e5-1184-452b-a9ab-736aa77ea9b0" providerId="ADAL" clId="{64A16CB7-192A-482D-9241-C7179EF1D9AD}" dt="2024-10-18T14:05:23.561" v="54"/>
          <ac:spMkLst>
            <pc:docMk/>
            <pc:sldMk cId="2301532117" sldId="2147481965"/>
            <ac:spMk id="12" creationId="{D220DE2A-1D82-1A4E-736B-420C0ED6455D}"/>
          </ac:spMkLst>
        </pc:spChg>
      </pc:sldChg>
      <pc:sldChg chg="modSp">
        <pc:chgData name="Singh Thakur, Vighnesh" userId="3dba02e5-1184-452b-a9ab-736aa77ea9b0" providerId="ADAL" clId="{64A16CB7-192A-482D-9241-C7179EF1D9AD}" dt="2024-10-18T14:12:11.229" v="86"/>
        <pc:sldMkLst>
          <pc:docMk/>
          <pc:sldMk cId="948317049" sldId="2147481966"/>
        </pc:sldMkLst>
        <pc:spChg chg="mod">
          <ac:chgData name="Singh Thakur, Vighnesh" userId="3dba02e5-1184-452b-a9ab-736aa77ea9b0" providerId="ADAL" clId="{64A16CB7-192A-482D-9241-C7179EF1D9AD}" dt="2024-10-18T14:12:11.229" v="86"/>
          <ac:spMkLst>
            <pc:docMk/>
            <pc:sldMk cId="948317049" sldId="2147481966"/>
            <ac:spMk id="2" creationId="{F306DC90-FBF1-D691-30D0-14DA791335E0}"/>
          </ac:spMkLst>
        </pc:spChg>
        <pc:spChg chg="mod">
          <ac:chgData name="Singh Thakur, Vighnesh" userId="3dba02e5-1184-452b-a9ab-736aa77ea9b0" providerId="ADAL" clId="{64A16CB7-192A-482D-9241-C7179EF1D9AD}" dt="2024-10-18T14:12:11.229" v="86"/>
          <ac:spMkLst>
            <pc:docMk/>
            <pc:sldMk cId="948317049" sldId="2147481966"/>
            <ac:spMk id="3" creationId="{7C3A6C58-72A0-3926-A241-3CE40C6580B8}"/>
          </ac:spMkLst>
        </pc:spChg>
      </pc:sldChg>
      <pc:sldChg chg="new del">
        <pc:chgData name="Singh Thakur, Vighnesh" userId="3dba02e5-1184-452b-a9ab-736aa77ea9b0" providerId="ADAL" clId="{64A16CB7-192A-482D-9241-C7179EF1D9AD}" dt="2024-10-18T14:06:52.806" v="56" actId="2696"/>
        <pc:sldMkLst>
          <pc:docMk/>
          <pc:sldMk cId="2567667292" sldId="2147481967"/>
        </pc:sldMkLst>
      </pc:sldChg>
      <pc:sldMasterChg chg="delSp mod modSldLayout">
        <pc:chgData name="Singh Thakur, Vighnesh" userId="3dba02e5-1184-452b-a9ab-736aa77ea9b0" providerId="ADAL" clId="{64A16CB7-192A-482D-9241-C7179EF1D9AD}" dt="2024-10-18T14:13:17.652" v="101"/>
        <pc:sldMasterMkLst>
          <pc:docMk/>
          <pc:sldMasterMk cId="3892070811" sldId="2147483656"/>
        </pc:sldMasterMkLst>
        <pc:spChg chg="del">
          <ac:chgData name="Singh Thakur, Vighnesh" userId="3dba02e5-1184-452b-a9ab-736aa77ea9b0" providerId="ADAL" clId="{64A16CB7-192A-482D-9241-C7179EF1D9AD}" dt="2024-10-18T14:08:00.376" v="57" actId="478"/>
          <ac:spMkLst>
            <pc:docMk/>
            <pc:sldMasterMk cId="3892070811" sldId="2147483656"/>
            <ac:spMk id="9" creationId="{C7EF1C10-87A8-A049-9B03-76E6A0392929}"/>
          </ac:spMkLst>
        </pc:spChg>
        <pc:sldLayoutChg chg="delSp modSp mod">
          <pc:chgData name="Singh Thakur, Vighnesh" userId="3dba02e5-1184-452b-a9ab-736aa77ea9b0" providerId="ADAL" clId="{64A16CB7-192A-482D-9241-C7179EF1D9AD}" dt="2024-10-18T14:12:56.353" v="92"/>
          <pc:sldLayoutMkLst>
            <pc:docMk/>
            <pc:sldMasterMk cId="3892070811" sldId="2147483656"/>
            <pc:sldLayoutMk cId="2126450382" sldId="2147483676"/>
          </pc:sldLayoutMkLst>
          <pc:spChg chg="del mod">
            <ac:chgData name="Singh Thakur, Vighnesh" userId="3dba02e5-1184-452b-a9ab-736aa77ea9b0" providerId="ADAL" clId="{64A16CB7-192A-482D-9241-C7179EF1D9AD}" dt="2024-10-18T14:12:56.353" v="92"/>
            <ac:spMkLst>
              <pc:docMk/>
              <pc:sldMasterMk cId="3892070811" sldId="2147483656"/>
              <pc:sldLayoutMk cId="2126450382" sldId="2147483676"/>
              <ac:spMk id="6" creationId="{A7302315-6827-40B3-A30B-0796A3D2E04B}"/>
            </ac:spMkLst>
          </pc:spChg>
        </pc:sldLayoutChg>
        <pc:sldLayoutChg chg="delSp modSp mod">
          <pc:chgData name="Singh Thakur, Vighnesh" userId="3dba02e5-1184-452b-a9ab-736aa77ea9b0" providerId="ADAL" clId="{64A16CB7-192A-482D-9241-C7179EF1D9AD}" dt="2024-10-18T14:13:03.643" v="95"/>
          <pc:sldLayoutMkLst>
            <pc:docMk/>
            <pc:sldMasterMk cId="3892070811" sldId="2147483656"/>
            <pc:sldLayoutMk cId="677283967" sldId="2147483693"/>
          </pc:sldLayoutMkLst>
          <pc:spChg chg="del mod">
            <ac:chgData name="Singh Thakur, Vighnesh" userId="3dba02e5-1184-452b-a9ab-736aa77ea9b0" providerId="ADAL" clId="{64A16CB7-192A-482D-9241-C7179EF1D9AD}" dt="2024-10-18T14:13:03.643" v="95"/>
            <ac:spMkLst>
              <pc:docMk/>
              <pc:sldMasterMk cId="3892070811" sldId="2147483656"/>
              <pc:sldLayoutMk cId="677283967" sldId="2147483693"/>
              <ac:spMk id="6" creationId="{A7302315-6827-40B3-A30B-0796A3D2E04B}"/>
            </ac:spMkLst>
          </pc:spChg>
        </pc:sldLayoutChg>
        <pc:sldLayoutChg chg="delSp modSp mod">
          <pc:chgData name="Singh Thakur, Vighnesh" userId="3dba02e5-1184-452b-a9ab-736aa77ea9b0" providerId="ADAL" clId="{64A16CB7-192A-482D-9241-C7179EF1D9AD}" dt="2024-10-18T14:13:13.369" v="98"/>
          <pc:sldLayoutMkLst>
            <pc:docMk/>
            <pc:sldMasterMk cId="3892070811" sldId="2147483656"/>
            <pc:sldLayoutMk cId="4039835657" sldId="2147484063"/>
          </pc:sldLayoutMkLst>
          <pc:spChg chg="del mod">
            <ac:chgData name="Singh Thakur, Vighnesh" userId="3dba02e5-1184-452b-a9ab-736aa77ea9b0" providerId="ADAL" clId="{64A16CB7-192A-482D-9241-C7179EF1D9AD}" dt="2024-10-18T14:13:13.369" v="98"/>
            <ac:spMkLst>
              <pc:docMk/>
              <pc:sldMasterMk cId="3892070811" sldId="2147483656"/>
              <pc:sldLayoutMk cId="4039835657" sldId="2147484063"/>
              <ac:spMk id="6" creationId="{A7302315-6827-40B3-A30B-0796A3D2E04B}"/>
            </ac:spMkLst>
          </pc:spChg>
        </pc:sldLayoutChg>
        <pc:sldLayoutChg chg="delSp modSp mod">
          <pc:chgData name="Singh Thakur, Vighnesh" userId="3dba02e5-1184-452b-a9ab-736aa77ea9b0" providerId="ADAL" clId="{64A16CB7-192A-482D-9241-C7179EF1D9AD}" dt="2024-10-18T14:13:17.652" v="101"/>
          <pc:sldLayoutMkLst>
            <pc:docMk/>
            <pc:sldMasterMk cId="3892070811" sldId="2147483656"/>
            <pc:sldLayoutMk cId="114278184" sldId="2147484064"/>
          </pc:sldLayoutMkLst>
          <pc:spChg chg="del mod">
            <ac:chgData name="Singh Thakur, Vighnesh" userId="3dba02e5-1184-452b-a9ab-736aa77ea9b0" providerId="ADAL" clId="{64A16CB7-192A-482D-9241-C7179EF1D9AD}" dt="2024-10-18T14:13:17.652" v="101"/>
            <ac:spMkLst>
              <pc:docMk/>
              <pc:sldMasterMk cId="3892070811" sldId="2147483656"/>
              <pc:sldLayoutMk cId="114278184" sldId="2147484064"/>
              <ac:spMk id="6" creationId="{A7302315-6827-40B3-A30B-0796A3D2E04B}"/>
            </ac:spMkLst>
          </pc:spChg>
        </pc:sldLayoutChg>
      </pc:sldMasterChg>
      <pc:sldMasterChg chg="delSp del mod">
        <pc:chgData name="Singh Thakur, Vighnesh" userId="3dba02e5-1184-452b-a9ab-736aa77ea9b0" providerId="ADAL" clId="{64A16CB7-192A-482D-9241-C7179EF1D9AD}" dt="2024-10-18T14:12:15.573" v="87" actId="2696"/>
        <pc:sldMasterMkLst>
          <pc:docMk/>
          <pc:sldMasterMk cId="714304201" sldId="2147483695"/>
        </pc:sldMasterMkLst>
        <pc:spChg chg="del">
          <ac:chgData name="Singh Thakur, Vighnesh" userId="3dba02e5-1184-452b-a9ab-736aa77ea9b0" providerId="ADAL" clId="{64A16CB7-192A-482D-9241-C7179EF1D9AD}" dt="2024-10-18T14:08:43.757" v="58" actId="478"/>
          <ac:spMkLst>
            <pc:docMk/>
            <pc:sldMasterMk cId="714304201" sldId="2147483695"/>
            <ac:spMk id="9" creationId="{C7EF1C10-87A8-A049-9B03-76E6A0392929}"/>
          </ac:spMkLst>
        </pc:spChg>
      </pc:sldMasterChg>
      <pc:sldMasterChg chg="delSp modSp del mod">
        <pc:chgData name="Singh Thakur, Vighnesh" userId="3dba02e5-1184-452b-a9ab-736aa77ea9b0" providerId="ADAL" clId="{64A16CB7-192A-482D-9241-C7179EF1D9AD}" dt="2024-10-18T14:11:39.938" v="79" actId="2696"/>
        <pc:sldMasterMkLst>
          <pc:docMk/>
          <pc:sldMasterMk cId="474497068" sldId="2147483728"/>
        </pc:sldMasterMkLst>
        <pc:spChg chg="del mod">
          <ac:chgData name="Singh Thakur, Vighnesh" userId="3dba02e5-1184-452b-a9ab-736aa77ea9b0" providerId="ADAL" clId="{64A16CB7-192A-482D-9241-C7179EF1D9AD}" dt="2024-10-18T14:09:04.608" v="62"/>
          <ac:spMkLst>
            <pc:docMk/>
            <pc:sldMasterMk cId="474497068" sldId="2147483728"/>
            <ac:spMk id="9" creationId="{C7EF1C10-87A8-A049-9B03-76E6A0392929}"/>
          </ac:spMkLst>
        </pc:spChg>
      </pc:sldMasterChg>
      <pc:sldMasterChg chg="delSp modSp del mod">
        <pc:chgData name="Singh Thakur, Vighnesh" userId="3dba02e5-1184-452b-a9ab-736aa77ea9b0" providerId="ADAL" clId="{64A16CB7-192A-482D-9241-C7179EF1D9AD}" dt="2024-10-18T14:11:44.605" v="80" actId="2696"/>
        <pc:sldMasterMkLst>
          <pc:docMk/>
          <pc:sldMasterMk cId="2877195527" sldId="2147483778"/>
        </pc:sldMasterMkLst>
        <pc:spChg chg="del mod">
          <ac:chgData name="Singh Thakur, Vighnesh" userId="3dba02e5-1184-452b-a9ab-736aa77ea9b0" providerId="ADAL" clId="{64A16CB7-192A-482D-9241-C7179EF1D9AD}" dt="2024-10-18T14:09:21.196" v="65"/>
          <ac:spMkLst>
            <pc:docMk/>
            <pc:sldMasterMk cId="2877195527" sldId="2147483778"/>
            <ac:spMk id="5" creationId="{35E026CF-F848-7341-ADBF-541082F8686C}"/>
          </ac:spMkLst>
        </pc:spChg>
      </pc:sldMasterChg>
      <pc:sldMasterChg chg="delSp modSp del mod">
        <pc:chgData name="Singh Thakur, Vighnesh" userId="3dba02e5-1184-452b-a9ab-736aa77ea9b0" providerId="ADAL" clId="{64A16CB7-192A-482D-9241-C7179EF1D9AD}" dt="2024-10-18T14:11:50.754" v="81" actId="2696"/>
        <pc:sldMasterMkLst>
          <pc:docMk/>
          <pc:sldMasterMk cId="2591598438" sldId="2147483853"/>
        </pc:sldMasterMkLst>
        <pc:spChg chg="del mod">
          <ac:chgData name="Singh Thakur, Vighnesh" userId="3dba02e5-1184-452b-a9ab-736aa77ea9b0" providerId="ADAL" clId="{64A16CB7-192A-482D-9241-C7179EF1D9AD}" dt="2024-10-18T14:09:33.140" v="68"/>
          <ac:spMkLst>
            <pc:docMk/>
            <pc:sldMasterMk cId="2591598438" sldId="2147483853"/>
            <ac:spMk id="9" creationId="{C7EF1C10-87A8-A049-9B03-76E6A0392929}"/>
          </ac:spMkLst>
        </pc:spChg>
      </pc:sldMasterChg>
      <pc:sldMasterChg chg="delSp modSp del mod">
        <pc:chgData name="Singh Thakur, Vighnesh" userId="3dba02e5-1184-452b-a9ab-736aa77ea9b0" providerId="ADAL" clId="{64A16CB7-192A-482D-9241-C7179EF1D9AD}" dt="2024-10-18T14:11:56.584" v="82" actId="2696"/>
        <pc:sldMasterMkLst>
          <pc:docMk/>
          <pc:sldMasterMk cId="1500805727" sldId="2147483902"/>
        </pc:sldMasterMkLst>
        <pc:spChg chg="del mod">
          <ac:chgData name="Singh Thakur, Vighnesh" userId="3dba02e5-1184-452b-a9ab-736aa77ea9b0" providerId="ADAL" clId="{64A16CB7-192A-482D-9241-C7179EF1D9AD}" dt="2024-10-18T14:09:51.382" v="71"/>
          <ac:spMkLst>
            <pc:docMk/>
            <pc:sldMasterMk cId="1500805727" sldId="2147483902"/>
            <ac:spMk id="9" creationId="{C7EF1C10-87A8-A049-9B03-76E6A0392929}"/>
          </ac:spMkLst>
        </pc:spChg>
      </pc:sldMasterChg>
      <pc:sldMasterChg chg="delSp modSp del mod">
        <pc:chgData name="Singh Thakur, Vighnesh" userId="3dba02e5-1184-452b-a9ab-736aa77ea9b0" providerId="ADAL" clId="{64A16CB7-192A-482D-9241-C7179EF1D9AD}" dt="2024-10-18T14:11:59.735" v="83" actId="2696"/>
        <pc:sldMasterMkLst>
          <pc:docMk/>
          <pc:sldMasterMk cId="175955055" sldId="2147483951"/>
        </pc:sldMasterMkLst>
        <pc:spChg chg="del mod">
          <ac:chgData name="Singh Thakur, Vighnesh" userId="3dba02e5-1184-452b-a9ab-736aa77ea9b0" providerId="ADAL" clId="{64A16CB7-192A-482D-9241-C7179EF1D9AD}" dt="2024-10-18T14:10:00.664" v="74"/>
          <ac:spMkLst>
            <pc:docMk/>
            <pc:sldMasterMk cId="175955055" sldId="2147483951"/>
            <ac:spMk id="9" creationId="{C7EF1C10-87A8-A049-9B03-76E6A0392929}"/>
          </ac:spMkLst>
        </pc:spChg>
      </pc:sldMasterChg>
      <pc:sldMasterChg chg="delSp modSp del mod">
        <pc:chgData name="Singh Thakur, Vighnesh" userId="3dba02e5-1184-452b-a9ab-736aa77ea9b0" providerId="ADAL" clId="{64A16CB7-192A-482D-9241-C7179EF1D9AD}" dt="2024-10-18T14:12:03.054" v="84" actId="2696"/>
        <pc:sldMasterMkLst>
          <pc:docMk/>
          <pc:sldMasterMk cId="4246465380" sldId="2147484004"/>
        </pc:sldMasterMkLst>
        <pc:spChg chg="del mod">
          <ac:chgData name="Singh Thakur, Vighnesh" userId="3dba02e5-1184-452b-a9ab-736aa77ea9b0" providerId="ADAL" clId="{64A16CB7-192A-482D-9241-C7179EF1D9AD}" dt="2024-10-18T14:10:14.917" v="77"/>
          <ac:spMkLst>
            <pc:docMk/>
            <pc:sldMasterMk cId="4246465380" sldId="2147484004"/>
            <ac:spMk id="9" creationId="{C7EF1C10-87A8-A049-9B03-76E6A0392929}"/>
          </ac:spMkLst>
        </pc:spChg>
      </pc:sldMasterChg>
      <pc:sldMasterChg chg="del">
        <pc:chgData name="Singh Thakur, Vighnesh" userId="3dba02e5-1184-452b-a9ab-736aa77ea9b0" providerId="ADAL" clId="{64A16CB7-192A-482D-9241-C7179EF1D9AD}" dt="2024-10-18T14:12:06.739" v="85" actId="2696"/>
        <pc:sldMasterMkLst>
          <pc:docMk/>
          <pc:sldMasterMk cId="1182281784" sldId="2147484037"/>
        </pc:sldMasterMkLst>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41C90AC-25E2-47FE-BD60-DB0E46DF16C4}" type="doc">
      <dgm:prSet loTypeId="urn:microsoft.com/office/officeart/2005/8/layout/funnel1" loCatId="relationship" qsTypeId="urn:microsoft.com/office/officeart/2005/8/quickstyle/simple1" qsCatId="simple" csTypeId="urn:microsoft.com/office/officeart/2005/8/colors/accent1_2" csCatId="accent1" phldr="1"/>
      <dgm:spPr/>
      <dgm:t>
        <a:bodyPr/>
        <a:lstStyle/>
        <a:p>
          <a:endParaRPr lang="en-US"/>
        </a:p>
      </dgm:t>
    </dgm:pt>
    <dgm:pt modelId="{004250F5-2F98-49AB-B5B5-781CC690F097}">
      <dgm:prSet phldrT="[Text]"/>
      <dgm:spPr/>
      <dgm:t>
        <a:bodyPr/>
        <a:lstStyle/>
        <a:p>
          <a:r>
            <a:rPr lang="en-US"/>
            <a:t>Procedures</a:t>
          </a:r>
        </a:p>
      </dgm:t>
    </dgm:pt>
    <dgm:pt modelId="{B088DD64-BB56-4A6E-9FB9-03C9C1A2A9FC}" type="parTrans" cxnId="{F9EADC35-73E4-4286-982B-EF03C5A182C4}">
      <dgm:prSet/>
      <dgm:spPr/>
      <dgm:t>
        <a:bodyPr/>
        <a:lstStyle/>
        <a:p>
          <a:endParaRPr lang="en-US"/>
        </a:p>
      </dgm:t>
    </dgm:pt>
    <dgm:pt modelId="{0F960B35-4EF8-4D80-9944-97E3A003179D}" type="sibTrans" cxnId="{F9EADC35-73E4-4286-982B-EF03C5A182C4}">
      <dgm:prSet/>
      <dgm:spPr/>
      <dgm:t>
        <a:bodyPr/>
        <a:lstStyle/>
        <a:p>
          <a:endParaRPr lang="en-US"/>
        </a:p>
      </dgm:t>
    </dgm:pt>
    <dgm:pt modelId="{6272DA4C-CFF2-4E90-AB4B-9DC9C6A430B3}">
      <dgm:prSet phldrT="[Text]"/>
      <dgm:spPr/>
      <dgm:t>
        <a:bodyPr/>
        <a:lstStyle/>
        <a:p>
          <a:r>
            <a:rPr lang="en-US"/>
            <a:t>Process maps</a:t>
          </a:r>
        </a:p>
      </dgm:t>
    </dgm:pt>
    <dgm:pt modelId="{34E27983-3598-48F1-96FE-403F42F1268B}" type="parTrans" cxnId="{BE18F578-04C8-4F76-AB44-63DF6D01D97C}">
      <dgm:prSet/>
      <dgm:spPr/>
      <dgm:t>
        <a:bodyPr/>
        <a:lstStyle/>
        <a:p>
          <a:endParaRPr lang="en-US"/>
        </a:p>
      </dgm:t>
    </dgm:pt>
    <dgm:pt modelId="{4BEAE1D7-EE82-4981-BDD1-54BA4772831E}" type="sibTrans" cxnId="{BE18F578-04C8-4F76-AB44-63DF6D01D97C}">
      <dgm:prSet/>
      <dgm:spPr/>
      <dgm:t>
        <a:bodyPr/>
        <a:lstStyle/>
        <a:p>
          <a:endParaRPr lang="en-US"/>
        </a:p>
      </dgm:t>
    </dgm:pt>
    <dgm:pt modelId="{7E5ABE89-1018-4CC1-A1A9-4C4FC7C38ADC}">
      <dgm:prSet phldrT="[Text]"/>
      <dgm:spPr/>
      <dgm:t>
        <a:bodyPr/>
        <a:lstStyle/>
        <a:p>
          <a:r>
            <a:rPr lang="en-US"/>
            <a:t>Meta Data</a:t>
          </a:r>
        </a:p>
      </dgm:t>
    </dgm:pt>
    <dgm:pt modelId="{8C5100E0-B1C9-4BFE-A644-D27895337C43}" type="parTrans" cxnId="{9A737654-2FF9-4644-9114-A963EF427313}">
      <dgm:prSet/>
      <dgm:spPr/>
      <dgm:t>
        <a:bodyPr/>
        <a:lstStyle/>
        <a:p>
          <a:endParaRPr lang="en-US"/>
        </a:p>
      </dgm:t>
    </dgm:pt>
    <dgm:pt modelId="{F46859FD-8D0F-4F63-9896-5E7605239A78}" type="sibTrans" cxnId="{9A737654-2FF9-4644-9114-A963EF427313}">
      <dgm:prSet/>
      <dgm:spPr/>
      <dgm:t>
        <a:bodyPr/>
        <a:lstStyle/>
        <a:p>
          <a:endParaRPr lang="en-US"/>
        </a:p>
      </dgm:t>
    </dgm:pt>
    <dgm:pt modelId="{5CE08438-226C-42BA-8C87-BA72DCBA999F}">
      <dgm:prSet phldrT="[Text]"/>
      <dgm:spPr/>
      <dgm:t>
        <a:bodyPr/>
        <a:lstStyle/>
        <a:p>
          <a:r>
            <a:rPr lang="en-US" b="1"/>
            <a:t>Data Pool</a:t>
          </a:r>
        </a:p>
      </dgm:t>
    </dgm:pt>
    <dgm:pt modelId="{A4DCB10E-3B2D-48EA-B68B-0AC69AC27B6E}" type="parTrans" cxnId="{C2A758EC-CD3D-4EDA-8C7A-05C0332A72D4}">
      <dgm:prSet/>
      <dgm:spPr/>
      <dgm:t>
        <a:bodyPr/>
        <a:lstStyle/>
        <a:p>
          <a:endParaRPr lang="en-US"/>
        </a:p>
      </dgm:t>
    </dgm:pt>
    <dgm:pt modelId="{520A31FF-8D81-4CF0-903F-9141C5C926D6}" type="sibTrans" cxnId="{C2A758EC-CD3D-4EDA-8C7A-05C0332A72D4}">
      <dgm:prSet/>
      <dgm:spPr/>
      <dgm:t>
        <a:bodyPr/>
        <a:lstStyle/>
        <a:p>
          <a:endParaRPr lang="en-US"/>
        </a:p>
      </dgm:t>
    </dgm:pt>
    <dgm:pt modelId="{E2F883D0-2657-498C-A73E-CF1344573579}">
      <dgm:prSet phldrT="[Text]"/>
      <dgm:spPr/>
      <dgm:t>
        <a:bodyPr/>
        <a:lstStyle/>
        <a:p>
          <a:endParaRPr lang="en-US"/>
        </a:p>
      </dgm:t>
    </dgm:pt>
    <dgm:pt modelId="{EF20A69D-6634-43A8-8A4F-FE05DC595915}" type="parTrans" cxnId="{014C9EEC-C3A6-43DE-A189-F5281BD16CE7}">
      <dgm:prSet/>
      <dgm:spPr/>
      <dgm:t>
        <a:bodyPr/>
        <a:lstStyle/>
        <a:p>
          <a:endParaRPr lang="en-US"/>
        </a:p>
      </dgm:t>
    </dgm:pt>
    <dgm:pt modelId="{03D56E27-C482-47A0-BAAE-12FD2527B3DD}" type="sibTrans" cxnId="{014C9EEC-C3A6-43DE-A189-F5281BD16CE7}">
      <dgm:prSet/>
      <dgm:spPr/>
      <dgm:t>
        <a:bodyPr/>
        <a:lstStyle/>
        <a:p>
          <a:endParaRPr lang="en-US"/>
        </a:p>
      </dgm:t>
    </dgm:pt>
    <dgm:pt modelId="{4B6E2755-2FAE-448B-9097-0CDC14FADE5C}" type="pres">
      <dgm:prSet presAssocID="{241C90AC-25E2-47FE-BD60-DB0E46DF16C4}" presName="Name0" presStyleCnt="0">
        <dgm:presLayoutVars>
          <dgm:chMax val="4"/>
          <dgm:resizeHandles val="exact"/>
        </dgm:presLayoutVars>
      </dgm:prSet>
      <dgm:spPr/>
    </dgm:pt>
    <dgm:pt modelId="{689ED813-10B6-4D61-AF65-CEC36980834F}" type="pres">
      <dgm:prSet presAssocID="{241C90AC-25E2-47FE-BD60-DB0E46DF16C4}" presName="ellipse" presStyleLbl="trBgShp" presStyleIdx="0" presStyleCnt="1"/>
      <dgm:spPr/>
    </dgm:pt>
    <dgm:pt modelId="{B588E08A-611F-41A3-8691-9A143A4A3E5A}" type="pres">
      <dgm:prSet presAssocID="{241C90AC-25E2-47FE-BD60-DB0E46DF16C4}" presName="arrow1" presStyleLbl="fgShp" presStyleIdx="0" presStyleCnt="1"/>
      <dgm:spPr/>
    </dgm:pt>
    <dgm:pt modelId="{69DB8E62-313F-40E3-A330-9707C9EE7936}" type="pres">
      <dgm:prSet presAssocID="{241C90AC-25E2-47FE-BD60-DB0E46DF16C4}" presName="rectangle" presStyleLbl="revTx" presStyleIdx="0" presStyleCnt="1">
        <dgm:presLayoutVars>
          <dgm:bulletEnabled val="1"/>
        </dgm:presLayoutVars>
      </dgm:prSet>
      <dgm:spPr/>
    </dgm:pt>
    <dgm:pt modelId="{4117E203-3D1F-4AE6-92C4-7B0CD3D8D1AF}" type="pres">
      <dgm:prSet presAssocID="{6272DA4C-CFF2-4E90-AB4B-9DC9C6A430B3}" presName="item1" presStyleLbl="node1" presStyleIdx="0" presStyleCnt="3">
        <dgm:presLayoutVars>
          <dgm:bulletEnabled val="1"/>
        </dgm:presLayoutVars>
      </dgm:prSet>
      <dgm:spPr/>
    </dgm:pt>
    <dgm:pt modelId="{34750BDE-DE8F-4197-813C-FA3273299DB1}" type="pres">
      <dgm:prSet presAssocID="{7E5ABE89-1018-4CC1-A1A9-4C4FC7C38ADC}" presName="item2" presStyleLbl="node1" presStyleIdx="1" presStyleCnt="3">
        <dgm:presLayoutVars>
          <dgm:bulletEnabled val="1"/>
        </dgm:presLayoutVars>
      </dgm:prSet>
      <dgm:spPr/>
    </dgm:pt>
    <dgm:pt modelId="{D2861656-4895-4950-8F42-84C2414560B0}" type="pres">
      <dgm:prSet presAssocID="{5CE08438-226C-42BA-8C87-BA72DCBA999F}" presName="item3" presStyleLbl="node1" presStyleIdx="2" presStyleCnt="3">
        <dgm:presLayoutVars>
          <dgm:bulletEnabled val="1"/>
        </dgm:presLayoutVars>
      </dgm:prSet>
      <dgm:spPr/>
    </dgm:pt>
    <dgm:pt modelId="{D867F553-B6E9-4D57-9F8F-ADD6C7E25751}" type="pres">
      <dgm:prSet presAssocID="{241C90AC-25E2-47FE-BD60-DB0E46DF16C4}" presName="funnel" presStyleLbl="trAlignAcc1" presStyleIdx="0" presStyleCnt="1"/>
      <dgm:spPr/>
    </dgm:pt>
  </dgm:ptLst>
  <dgm:cxnLst>
    <dgm:cxn modelId="{CFBA9623-F79A-46D0-BEA5-BD4558B14DCA}" type="presOf" srcId="{004250F5-2F98-49AB-B5B5-781CC690F097}" destId="{D2861656-4895-4950-8F42-84C2414560B0}" srcOrd="0" destOrd="0" presId="urn:microsoft.com/office/officeart/2005/8/layout/funnel1"/>
    <dgm:cxn modelId="{3324DA33-6ECC-41F4-9573-B9DA759F97E7}" type="presOf" srcId="{241C90AC-25E2-47FE-BD60-DB0E46DF16C4}" destId="{4B6E2755-2FAE-448B-9097-0CDC14FADE5C}" srcOrd="0" destOrd="0" presId="urn:microsoft.com/office/officeart/2005/8/layout/funnel1"/>
    <dgm:cxn modelId="{F9EADC35-73E4-4286-982B-EF03C5A182C4}" srcId="{241C90AC-25E2-47FE-BD60-DB0E46DF16C4}" destId="{004250F5-2F98-49AB-B5B5-781CC690F097}" srcOrd="0" destOrd="0" parTransId="{B088DD64-BB56-4A6E-9FB9-03C9C1A2A9FC}" sibTransId="{0F960B35-4EF8-4D80-9944-97E3A003179D}"/>
    <dgm:cxn modelId="{9C8C5944-B8BB-47A7-B866-E4BACE554BE7}" type="presOf" srcId="{7E5ABE89-1018-4CC1-A1A9-4C4FC7C38ADC}" destId="{4117E203-3D1F-4AE6-92C4-7B0CD3D8D1AF}" srcOrd="0" destOrd="0" presId="urn:microsoft.com/office/officeart/2005/8/layout/funnel1"/>
    <dgm:cxn modelId="{9A737654-2FF9-4644-9114-A963EF427313}" srcId="{241C90AC-25E2-47FE-BD60-DB0E46DF16C4}" destId="{7E5ABE89-1018-4CC1-A1A9-4C4FC7C38ADC}" srcOrd="2" destOrd="0" parTransId="{8C5100E0-B1C9-4BFE-A644-D27895337C43}" sibTransId="{F46859FD-8D0F-4F63-9896-5E7605239A78}"/>
    <dgm:cxn modelId="{BE18F578-04C8-4F76-AB44-63DF6D01D97C}" srcId="{241C90AC-25E2-47FE-BD60-DB0E46DF16C4}" destId="{6272DA4C-CFF2-4E90-AB4B-9DC9C6A430B3}" srcOrd="1" destOrd="0" parTransId="{34E27983-3598-48F1-96FE-403F42F1268B}" sibTransId="{4BEAE1D7-EE82-4981-BDD1-54BA4772831E}"/>
    <dgm:cxn modelId="{D632038E-93B5-4024-83B2-180EE9543F2B}" type="presOf" srcId="{5CE08438-226C-42BA-8C87-BA72DCBA999F}" destId="{69DB8E62-313F-40E3-A330-9707C9EE7936}" srcOrd="0" destOrd="0" presId="urn:microsoft.com/office/officeart/2005/8/layout/funnel1"/>
    <dgm:cxn modelId="{C2A758EC-CD3D-4EDA-8C7A-05C0332A72D4}" srcId="{241C90AC-25E2-47FE-BD60-DB0E46DF16C4}" destId="{5CE08438-226C-42BA-8C87-BA72DCBA999F}" srcOrd="3" destOrd="0" parTransId="{A4DCB10E-3B2D-48EA-B68B-0AC69AC27B6E}" sibTransId="{520A31FF-8D81-4CF0-903F-9141C5C926D6}"/>
    <dgm:cxn modelId="{014C9EEC-C3A6-43DE-A189-F5281BD16CE7}" srcId="{241C90AC-25E2-47FE-BD60-DB0E46DF16C4}" destId="{E2F883D0-2657-498C-A73E-CF1344573579}" srcOrd="4" destOrd="0" parTransId="{EF20A69D-6634-43A8-8A4F-FE05DC595915}" sibTransId="{03D56E27-C482-47A0-BAAE-12FD2527B3DD}"/>
    <dgm:cxn modelId="{6D4856F3-3138-42A3-8114-3D88850FA70F}" type="presOf" srcId="{6272DA4C-CFF2-4E90-AB4B-9DC9C6A430B3}" destId="{34750BDE-DE8F-4197-813C-FA3273299DB1}" srcOrd="0" destOrd="0" presId="urn:microsoft.com/office/officeart/2005/8/layout/funnel1"/>
    <dgm:cxn modelId="{7A83DAF6-1A8B-4315-BD12-EFA97AA6D099}" type="presParOf" srcId="{4B6E2755-2FAE-448B-9097-0CDC14FADE5C}" destId="{689ED813-10B6-4D61-AF65-CEC36980834F}" srcOrd="0" destOrd="0" presId="urn:microsoft.com/office/officeart/2005/8/layout/funnel1"/>
    <dgm:cxn modelId="{B24AB293-3C4A-4737-893A-12670B474466}" type="presParOf" srcId="{4B6E2755-2FAE-448B-9097-0CDC14FADE5C}" destId="{B588E08A-611F-41A3-8691-9A143A4A3E5A}" srcOrd="1" destOrd="0" presId="urn:microsoft.com/office/officeart/2005/8/layout/funnel1"/>
    <dgm:cxn modelId="{DAC75C54-5BB4-45AB-82B9-CA56E9F2121E}" type="presParOf" srcId="{4B6E2755-2FAE-448B-9097-0CDC14FADE5C}" destId="{69DB8E62-313F-40E3-A330-9707C9EE7936}" srcOrd="2" destOrd="0" presId="urn:microsoft.com/office/officeart/2005/8/layout/funnel1"/>
    <dgm:cxn modelId="{2DBD44D2-1590-4523-8986-EA72B53F8CE5}" type="presParOf" srcId="{4B6E2755-2FAE-448B-9097-0CDC14FADE5C}" destId="{4117E203-3D1F-4AE6-92C4-7B0CD3D8D1AF}" srcOrd="3" destOrd="0" presId="urn:microsoft.com/office/officeart/2005/8/layout/funnel1"/>
    <dgm:cxn modelId="{17899E77-44D4-45AF-B354-B8CA79CC8F73}" type="presParOf" srcId="{4B6E2755-2FAE-448B-9097-0CDC14FADE5C}" destId="{34750BDE-DE8F-4197-813C-FA3273299DB1}" srcOrd="4" destOrd="0" presId="urn:microsoft.com/office/officeart/2005/8/layout/funnel1"/>
    <dgm:cxn modelId="{F9372E68-99A3-454E-A412-00BFDDE74562}" type="presParOf" srcId="{4B6E2755-2FAE-448B-9097-0CDC14FADE5C}" destId="{D2861656-4895-4950-8F42-84C2414560B0}" srcOrd="5" destOrd="0" presId="urn:microsoft.com/office/officeart/2005/8/layout/funnel1"/>
    <dgm:cxn modelId="{079EA43F-B03A-4EEF-B76D-69B5D748BE80}" type="presParOf" srcId="{4B6E2755-2FAE-448B-9097-0CDC14FADE5C}" destId="{D867F553-B6E9-4D57-9F8F-ADD6C7E25751}" srcOrd="6" destOrd="0" presId="urn:microsoft.com/office/officeart/2005/8/layout/funnel1"/>
  </dgm:cxnLst>
  <dgm:bg>
    <a:effectLst>
      <a:outerShdw blurRad="50800" dist="38100" dir="5400000" algn="t" rotWithShape="0">
        <a:prstClr val="black">
          <a:alpha val="40000"/>
        </a:prstClr>
      </a:outerShdw>
    </a:effect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89ED813-10B6-4D61-AF65-CEC36980834F}">
      <dsp:nvSpPr>
        <dsp:cNvPr id="0" name=""/>
        <dsp:cNvSpPr/>
      </dsp:nvSpPr>
      <dsp:spPr>
        <a:xfrm>
          <a:off x="443424" y="181199"/>
          <a:ext cx="1620447" cy="562760"/>
        </a:xfrm>
        <a:prstGeom prst="ellipse">
          <a:avLst/>
        </a:prstGeom>
        <a:solidFill>
          <a:schemeClr val="accent1">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588E08A-611F-41A3-8691-9A143A4A3E5A}">
      <dsp:nvSpPr>
        <dsp:cNvPr id="0" name=""/>
        <dsp:cNvSpPr/>
      </dsp:nvSpPr>
      <dsp:spPr>
        <a:xfrm>
          <a:off x="1099140" y="1559207"/>
          <a:ext cx="314040" cy="200985"/>
        </a:xfrm>
        <a:prstGeom prst="down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9DB8E62-313F-40E3-A330-9707C9EE7936}">
      <dsp:nvSpPr>
        <dsp:cNvPr id="0" name=""/>
        <dsp:cNvSpPr/>
      </dsp:nvSpPr>
      <dsp:spPr>
        <a:xfrm>
          <a:off x="502464" y="1719996"/>
          <a:ext cx="1507393" cy="3768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2456" tIns="92456" rIns="92456" bIns="92456" numCol="1" spcCol="1270" anchor="ctr" anchorCtr="0">
          <a:noAutofit/>
        </a:bodyPr>
        <a:lstStyle/>
        <a:p>
          <a:pPr marL="0" lvl="0" indent="0" algn="ctr" defTabSz="577850">
            <a:lnSpc>
              <a:spcPct val="90000"/>
            </a:lnSpc>
            <a:spcBef>
              <a:spcPct val="0"/>
            </a:spcBef>
            <a:spcAft>
              <a:spcPct val="35000"/>
            </a:spcAft>
            <a:buNone/>
          </a:pPr>
          <a:r>
            <a:rPr lang="en-US" sz="1300" b="1" kern="1200"/>
            <a:t>Data Pool</a:t>
          </a:r>
        </a:p>
      </dsp:txBody>
      <dsp:txXfrm>
        <a:off x="502464" y="1719996"/>
        <a:ext cx="1507393" cy="376848"/>
      </dsp:txXfrm>
    </dsp:sp>
    <dsp:sp modelId="{4117E203-3D1F-4AE6-92C4-7B0CD3D8D1AF}">
      <dsp:nvSpPr>
        <dsp:cNvPr id="0" name=""/>
        <dsp:cNvSpPr/>
      </dsp:nvSpPr>
      <dsp:spPr>
        <a:xfrm>
          <a:off x="1032564" y="787422"/>
          <a:ext cx="565272" cy="565272"/>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a:t>Meta Data</a:t>
          </a:r>
        </a:p>
      </dsp:txBody>
      <dsp:txXfrm>
        <a:off x="1115346" y="870204"/>
        <a:ext cx="399708" cy="399708"/>
      </dsp:txXfrm>
    </dsp:sp>
    <dsp:sp modelId="{34750BDE-DE8F-4197-813C-FA3273299DB1}">
      <dsp:nvSpPr>
        <dsp:cNvPr id="0" name=""/>
        <dsp:cNvSpPr/>
      </dsp:nvSpPr>
      <dsp:spPr>
        <a:xfrm>
          <a:off x="628080" y="363342"/>
          <a:ext cx="565272" cy="565272"/>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a:t>Process maps</a:t>
          </a:r>
        </a:p>
      </dsp:txBody>
      <dsp:txXfrm>
        <a:off x="710862" y="446124"/>
        <a:ext cx="399708" cy="399708"/>
      </dsp:txXfrm>
    </dsp:sp>
    <dsp:sp modelId="{D2861656-4895-4950-8F42-84C2414560B0}">
      <dsp:nvSpPr>
        <dsp:cNvPr id="0" name=""/>
        <dsp:cNvSpPr/>
      </dsp:nvSpPr>
      <dsp:spPr>
        <a:xfrm>
          <a:off x="1205914" y="226672"/>
          <a:ext cx="565272" cy="565272"/>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r>
            <a:rPr lang="en-US" sz="600" kern="1200"/>
            <a:t>Procedures</a:t>
          </a:r>
        </a:p>
      </dsp:txBody>
      <dsp:txXfrm>
        <a:off x="1288696" y="309454"/>
        <a:ext cx="399708" cy="399708"/>
      </dsp:txXfrm>
    </dsp:sp>
    <dsp:sp modelId="{D867F553-B6E9-4D57-9F8F-ADD6C7E25751}">
      <dsp:nvSpPr>
        <dsp:cNvPr id="0" name=""/>
        <dsp:cNvSpPr/>
      </dsp:nvSpPr>
      <dsp:spPr>
        <a:xfrm>
          <a:off x="376848" y="112110"/>
          <a:ext cx="1758625" cy="1406900"/>
        </a:xfrm>
        <a:prstGeom prst="funnel">
          <a:avLst/>
        </a:prstGeom>
        <a:solidFill>
          <a:schemeClr val="lt1">
            <a:alpha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0866744-969A-540C-88CD-F582B1D8C50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593FE9C7-D442-3E5A-7357-6912915EBB8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00FBFAA-E89D-49C2-A7E8-CDE79CCEBC2A}" type="datetimeFigureOut">
              <a:rPr lang="en-US" smtClean="0"/>
              <a:t>10/18/2024</a:t>
            </a:fld>
            <a:endParaRPr lang="en-US"/>
          </a:p>
        </p:txBody>
      </p:sp>
      <p:sp>
        <p:nvSpPr>
          <p:cNvPr id="4" name="Footer Placeholder 3">
            <a:extLst>
              <a:ext uri="{FF2B5EF4-FFF2-40B4-BE49-F238E27FC236}">
                <a16:creationId xmlns:a16="http://schemas.microsoft.com/office/drawing/2014/main" id="{3DDA6BE8-0557-DC17-86A7-D76E517A9F1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19AB8EA-22C8-ACED-F857-93651B60662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034DF85-AD51-4631-BD38-2B8763D9F8C9}" type="slidenum">
              <a:rPr lang="en-US" smtClean="0"/>
              <a:t>‹#›</a:t>
            </a:fld>
            <a:endParaRPr lang="en-US"/>
          </a:p>
        </p:txBody>
      </p:sp>
    </p:spTree>
    <p:extLst>
      <p:ext uri="{BB962C8B-B14F-4D97-AF65-F5344CB8AC3E}">
        <p14:creationId xmlns:p14="http://schemas.microsoft.com/office/powerpoint/2010/main" val="38933533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B0102A-0450-44DB-AD28-FDCBC9A1386F}" type="datetimeFigureOut">
              <a:rPr lang="en-GB" smtClean="0"/>
              <a:t>18/10/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7DAD79-2A99-44E7-9882-040D1D809A61}" type="slidenum">
              <a:rPr lang="en-GB" smtClean="0"/>
              <a:t>‹#›</a:t>
            </a:fld>
            <a:endParaRPr lang="en-GB"/>
          </a:p>
        </p:txBody>
      </p:sp>
    </p:spTree>
    <p:extLst>
      <p:ext uri="{BB962C8B-B14F-4D97-AF65-F5344CB8AC3E}">
        <p14:creationId xmlns:p14="http://schemas.microsoft.com/office/powerpoint/2010/main" val="34964029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1B1CE9-2D24-3244-9893-CE744E9841FC}"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28245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17DAD79-2A99-44E7-9882-040D1D809A61}" type="slidenum">
              <a:rPr lang="en-GB" smtClean="0"/>
              <a:t>3</a:t>
            </a:fld>
            <a:endParaRPr lang="en-GB"/>
          </a:p>
        </p:txBody>
      </p:sp>
    </p:spTree>
    <p:extLst>
      <p:ext uri="{BB962C8B-B14F-4D97-AF65-F5344CB8AC3E}">
        <p14:creationId xmlns:p14="http://schemas.microsoft.com/office/powerpoint/2010/main" val="18835219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ith Background">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0B33B06-31A6-4D31-AE2E-97D9B2B3F2E6}"/>
              </a:ext>
            </a:extLst>
          </p:cNvPr>
          <p:cNvSpPr>
            <a:spLocks noGrp="1"/>
          </p:cNvSpPr>
          <p:nvPr>
            <p:ph type="title" hasCustomPrompt="1"/>
          </p:nvPr>
        </p:nvSpPr>
        <p:spPr>
          <a:xfrm>
            <a:off x="1085548" y="4755595"/>
            <a:ext cx="6145913" cy="720197"/>
          </a:xfrm>
          <a:blipFill dpi="0" rotWithShape="1">
            <a:blip r:embed="rId3" cstate="email">
              <a:extLst>
                <a:ext uri="{28A0092B-C50C-407E-A947-70E740481C1C}">
                  <a14:useLocalDpi xmlns:a14="http://schemas.microsoft.com/office/drawing/2010/main"/>
                </a:ext>
              </a:extLst>
            </a:blip>
            <a:srcRect/>
            <a:stretch>
              <a:fillRect t="80000" b="16000"/>
            </a:stretch>
          </a:blipFill>
        </p:spPr>
        <p:txBody>
          <a:bodyPr vert="horz" wrap="none" lIns="0" tIns="0" rIns="0" bIns="274320" rtlCol="0" anchor="b">
            <a:spAutoFit/>
          </a:bodyPr>
          <a:lstStyle>
            <a:lvl1pPr>
              <a:defRPr lang="en-GB" sz="3200" u="none" dirty="0">
                <a:solidFill>
                  <a:schemeClr val="bg1"/>
                </a:solidFill>
                <a:uFill>
                  <a:solidFill>
                    <a:schemeClr val="accent1"/>
                  </a:solidFill>
                </a:uFill>
              </a:defRPr>
            </a:lvl1pPr>
          </a:lstStyle>
          <a:p>
            <a:pPr lvl="0"/>
            <a:r>
              <a:rPr lang="en-US"/>
              <a:t>Presentation title GOES here</a:t>
            </a:r>
            <a:endParaRPr lang="en-GB"/>
          </a:p>
        </p:txBody>
      </p:sp>
      <p:sp>
        <p:nvSpPr>
          <p:cNvPr id="11" name="Text Placeholder 3">
            <a:extLst>
              <a:ext uri="{FF2B5EF4-FFF2-40B4-BE49-F238E27FC236}">
                <a16:creationId xmlns:a16="http://schemas.microsoft.com/office/drawing/2014/main" id="{5E150238-E68B-4742-9D98-AD50CA73D981}"/>
              </a:ext>
            </a:extLst>
          </p:cNvPr>
          <p:cNvSpPr>
            <a:spLocks noGrp="1"/>
          </p:cNvSpPr>
          <p:nvPr>
            <p:ph type="body" sz="quarter" idx="17" hasCustomPrompt="1"/>
          </p:nvPr>
        </p:nvSpPr>
        <p:spPr>
          <a:xfrm>
            <a:off x="1085548" y="5659295"/>
            <a:ext cx="6145912" cy="307777"/>
          </a:xfrm>
        </p:spPr>
        <p:txBody>
          <a:bodyPr vert="horz" wrap="square" lIns="0" tIns="0" rIns="0" bIns="0" rtlCol="0">
            <a:spAutoFit/>
          </a:bodyPr>
          <a:lstStyle>
            <a:lvl1pPr>
              <a:defRPr lang="en-US" sz="2000" cap="all" baseline="0" dirty="0">
                <a:solidFill>
                  <a:schemeClr val="bg2">
                    <a:lumMod val="75000"/>
                  </a:schemeClr>
                </a:solidFill>
                <a:latin typeface="Century Gothic" panose="020B0502020202020204" pitchFamily="34" charset="0"/>
              </a:defRPr>
            </a:lvl1pPr>
          </a:lstStyle>
          <a:p>
            <a:pPr lvl="0"/>
            <a:r>
              <a:rPr lang="en-US"/>
              <a:t>SUBTITLE HERE</a:t>
            </a:r>
          </a:p>
        </p:txBody>
      </p:sp>
      <p:sp>
        <p:nvSpPr>
          <p:cNvPr id="15" name="Picture Placeholder 23">
            <a:extLst>
              <a:ext uri="{FF2B5EF4-FFF2-40B4-BE49-F238E27FC236}">
                <a16:creationId xmlns:a16="http://schemas.microsoft.com/office/drawing/2014/main" id="{E68D7FE1-FD1B-4463-BE52-0C7C40777065}"/>
              </a:ext>
            </a:extLst>
          </p:cNvPr>
          <p:cNvSpPr>
            <a:spLocks noGrp="1"/>
          </p:cNvSpPr>
          <p:nvPr>
            <p:ph type="pic" sz="quarter" idx="18" hasCustomPrompt="1"/>
          </p:nvPr>
        </p:nvSpPr>
        <p:spPr>
          <a:xfrm>
            <a:off x="8354944" y="4755594"/>
            <a:ext cx="2965813" cy="1211477"/>
          </a:xfrm>
        </p:spPr>
        <p:txBody>
          <a:bodyPr anchor="ctr">
            <a:normAutofit/>
          </a:bodyPr>
          <a:lstStyle>
            <a:lvl1pPr algn="ctr">
              <a:defRPr sz="1400" b="0">
                <a:solidFill>
                  <a:schemeClr val="bg1"/>
                </a:solidFill>
              </a:defRPr>
            </a:lvl1pPr>
          </a:lstStyle>
          <a:p>
            <a:r>
              <a:rPr lang="en-GB"/>
              <a:t>Place client logo here if needed</a:t>
            </a:r>
          </a:p>
        </p:txBody>
      </p:sp>
      <p:grpSp>
        <p:nvGrpSpPr>
          <p:cNvPr id="12" name="Group 11">
            <a:extLst>
              <a:ext uri="{FF2B5EF4-FFF2-40B4-BE49-F238E27FC236}">
                <a16:creationId xmlns:a16="http://schemas.microsoft.com/office/drawing/2014/main" id="{78687F9E-FB0B-4A93-A8CB-697A87C22ADF}"/>
              </a:ext>
            </a:extLst>
          </p:cNvPr>
          <p:cNvGrpSpPr/>
          <p:nvPr userDrawn="1"/>
        </p:nvGrpSpPr>
        <p:grpSpPr>
          <a:xfrm>
            <a:off x="1085548" y="350282"/>
            <a:ext cx="10020904" cy="3398903"/>
            <a:chOff x="1085548" y="350282"/>
            <a:chExt cx="10020904" cy="3398903"/>
          </a:xfrm>
          <a:solidFill>
            <a:schemeClr val="bg1">
              <a:alpha val="40000"/>
            </a:schemeClr>
          </a:solidFill>
        </p:grpSpPr>
        <p:sp>
          <p:nvSpPr>
            <p:cNvPr id="13" name="Freeform: Shape 12">
              <a:extLst>
                <a:ext uri="{FF2B5EF4-FFF2-40B4-BE49-F238E27FC236}">
                  <a16:creationId xmlns:a16="http://schemas.microsoft.com/office/drawing/2014/main" id="{761DC9FF-EB62-41E8-B299-9167CC092E0A}"/>
                </a:ext>
              </a:extLst>
            </p:cNvPr>
            <p:cNvSpPr/>
            <p:nvPr/>
          </p:nvSpPr>
          <p:spPr>
            <a:xfrm>
              <a:off x="5301360" y="379583"/>
              <a:ext cx="1582248" cy="3340301"/>
            </a:xfrm>
            <a:custGeom>
              <a:avLst/>
              <a:gdLst>
                <a:gd name="connsiteX0" fmla="*/ 948177 w 1582248"/>
                <a:gd name="connsiteY0" fmla="*/ 1509582 h 3340301"/>
                <a:gd name="connsiteX1" fmla="*/ 826871 w 1582248"/>
                <a:gd name="connsiteY1" fmla="*/ 1630888 h 3340301"/>
                <a:gd name="connsiteX2" fmla="*/ 680952 w 1582248"/>
                <a:gd name="connsiteY2" fmla="*/ 1630888 h 3340301"/>
                <a:gd name="connsiteX3" fmla="*/ 680952 w 1582248"/>
                <a:gd name="connsiteY3" fmla="*/ 580744 h 3340301"/>
                <a:gd name="connsiteX4" fmla="*/ 826871 w 1582248"/>
                <a:gd name="connsiteY4" fmla="*/ 580744 h 3340301"/>
                <a:gd name="connsiteX5" fmla="*/ 948177 w 1582248"/>
                <a:gd name="connsiteY5" fmla="*/ 701463 h 3340301"/>
                <a:gd name="connsiteX6" fmla="*/ 948177 w 1582248"/>
                <a:gd name="connsiteY6" fmla="*/ 1509582 h 3340301"/>
                <a:gd name="connsiteX7" fmla="*/ 1629129 w 1582248"/>
                <a:gd name="connsiteY7" fmla="*/ 1582248 h 3340301"/>
                <a:gd name="connsiteX8" fmla="*/ 1629129 w 1582248"/>
                <a:gd name="connsiteY8" fmla="*/ 628797 h 3340301"/>
                <a:gd name="connsiteX9" fmla="*/ 996816 w 1582248"/>
                <a:gd name="connsiteY9" fmla="*/ 0 h 3340301"/>
                <a:gd name="connsiteX10" fmla="*/ 0 w 1582248"/>
                <a:gd name="connsiteY10" fmla="*/ 0 h 3340301"/>
                <a:gd name="connsiteX11" fmla="*/ 0 w 1582248"/>
                <a:gd name="connsiteY11" fmla="*/ 3387769 h 3340301"/>
                <a:gd name="connsiteX12" fmla="*/ 680952 w 1582248"/>
                <a:gd name="connsiteY12" fmla="*/ 3387769 h 3340301"/>
                <a:gd name="connsiteX13" fmla="*/ 680952 w 1582248"/>
                <a:gd name="connsiteY13" fmla="*/ 2211631 h 3340301"/>
                <a:gd name="connsiteX14" fmla="*/ 996816 w 1582248"/>
                <a:gd name="connsiteY14" fmla="*/ 2211631 h 3340301"/>
                <a:gd name="connsiteX15" fmla="*/ 1629129 w 1582248"/>
                <a:gd name="connsiteY15" fmla="*/ 1582248 h 33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82248" h="3340301">
                  <a:moveTo>
                    <a:pt x="948177" y="1509582"/>
                  </a:moveTo>
                  <a:cubicBezTo>
                    <a:pt x="948177" y="1591624"/>
                    <a:pt x="908913" y="1630888"/>
                    <a:pt x="826871" y="1630888"/>
                  </a:cubicBezTo>
                  <a:lnTo>
                    <a:pt x="680952" y="1630888"/>
                  </a:lnTo>
                  <a:lnTo>
                    <a:pt x="680952" y="580744"/>
                  </a:lnTo>
                  <a:lnTo>
                    <a:pt x="826871" y="580744"/>
                  </a:lnTo>
                  <a:cubicBezTo>
                    <a:pt x="909499" y="580744"/>
                    <a:pt x="948177" y="619421"/>
                    <a:pt x="948177" y="701463"/>
                  </a:cubicBezTo>
                  <a:lnTo>
                    <a:pt x="948177" y="1509582"/>
                  </a:lnTo>
                  <a:close/>
                  <a:moveTo>
                    <a:pt x="1629129" y="1582248"/>
                  </a:moveTo>
                  <a:lnTo>
                    <a:pt x="1629129" y="628797"/>
                  </a:lnTo>
                  <a:cubicBezTo>
                    <a:pt x="1629129" y="207450"/>
                    <a:pt x="1419921" y="0"/>
                    <a:pt x="996816" y="0"/>
                  </a:cubicBezTo>
                  <a:lnTo>
                    <a:pt x="0" y="0"/>
                  </a:lnTo>
                  <a:lnTo>
                    <a:pt x="0" y="3387769"/>
                  </a:lnTo>
                  <a:lnTo>
                    <a:pt x="680952" y="3387769"/>
                  </a:lnTo>
                  <a:lnTo>
                    <a:pt x="680952" y="2211631"/>
                  </a:lnTo>
                  <a:lnTo>
                    <a:pt x="996816" y="2211631"/>
                  </a:lnTo>
                  <a:cubicBezTo>
                    <a:pt x="1419921" y="2211631"/>
                    <a:pt x="1629129" y="2003595"/>
                    <a:pt x="1629129" y="1582248"/>
                  </a:cubicBezTo>
                </a:path>
              </a:pathLst>
            </a:custGeom>
            <a:grpFill/>
            <a:ln w="58598"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BF9FB7D-7EE9-4663-8E66-3BDA73C1F263}"/>
                </a:ext>
              </a:extLst>
            </p:cNvPr>
            <p:cNvSpPr/>
            <p:nvPr/>
          </p:nvSpPr>
          <p:spPr>
            <a:xfrm>
              <a:off x="7319018" y="350282"/>
              <a:ext cx="1640850" cy="3398903"/>
            </a:xfrm>
            <a:custGeom>
              <a:avLst/>
              <a:gdLst>
                <a:gd name="connsiteX0" fmla="*/ 631728 w 1640849"/>
                <a:gd name="connsiteY0" fmla="*/ 3445785 h 3398903"/>
                <a:gd name="connsiteX1" fmla="*/ 1050145 w 1640849"/>
                <a:gd name="connsiteY1" fmla="*/ 3445785 h 3398903"/>
                <a:gd name="connsiteX2" fmla="*/ 1682458 w 1640849"/>
                <a:gd name="connsiteY2" fmla="*/ 2816402 h 3398903"/>
                <a:gd name="connsiteX3" fmla="*/ 1682458 w 1640849"/>
                <a:gd name="connsiteY3" fmla="*/ 2185261 h 3398903"/>
                <a:gd name="connsiteX4" fmla="*/ 1011468 w 1640849"/>
                <a:gd name="connsiteY4" fmla="*/ 2185261 h 3398903"/>
                <a:gd name="connsiteX5" fmla="*/ 1011468 w 1640849"/>
                <a:gd name="connsiteY5" fmla="*/ 2744322 h 3398903"/>
                <a:gd name="connsiteX6" fmla="*/ 889576 w 1640849"/>
                <a:gd name="connsiteY6" fmla="*/ 2865041 h 3398903"/>
                <a:gd name="connsiteX7" fmla="*/ 802259 w 1640849"/>
                <a:gd name="connsiteY7" fmla="*/ 2865041 h 3398903"/>
                <a:gd name="connsiteX8" fmla="*/ 680954 w 1640849"/>
                <a:gd name="connsiteY8" fmla="*/ 2744322 h 3398903"/>
                <a:gd name="connsiteX9" fmla="*/ 680954 w 1640849"/>
                <a:gd name="connsiteY9" fmla="*/ 702049 h 3398903"/>
                <a:gd name="connsiteX10" fmla="*/ 802259 w 1640849"/>
                <a:gd name="connsiteY10" fmla="*/ 581330 h 3398903"/>
                <a:gd name="connsiteX11" fmla="*/ 880200 w 1640849"/>
                <a:gd name="connsiteY11" fmla="*/ 581330 h 3398903"/>
                <a:gd name="connsiteX12" fmla="*/ 1002092 w 1640849"/>
                <a:gd name="connsiteY12" fmla="*/ 702049 h 3398903"/>
                <a:gd name="connsiteX13" fmla="*/ 1002092 w 1640849"/>
                <a:gd name="connsiteY13" fmla="*/ 1176138 h 3398903"/>
                <a:gd name="connsiteX14" fmla="*/ 1673082 w 1640849"/>
                <a:gd name="connsiteY14" fmla="*/ 1176138 h 3398903"/>
                <a:gd name="connsiteX15" fmla="*/ 1673082 w 1640849"/>
                <a:gd name="connsiteY15" fmla="*/ 629383 h 3398903"/>
                <a:gd name="connsiteX16" fmla="*/ 1040769 w 1640849"/>
                <a:gd name="connsiteY16" fmla="*/ 0 h 3398903"/>
                <a:gd name="connsiteX17" fmla="*/ 632314 w 1640849"/>
                <a:gd name="connsiteY17" fmla="*/ 0 h 3398903"/>
                <a:gd name="connsiteX18" fmla="*/ 1 w 1640849"/>
                <a:gd name="connsiteY18" fmla="*/ 629383 h 3398903"/>
                <a:gd name="connsiteX19" fmla="*/ 1 w 1640849"/>
                <a:gd name="connsiteY19" fmla="*/ 2816988 h 3398903"/>
                <a:gd name="connsiteX20" fmla="*/ 631728 w 1640849"/>
                <a:gd name="connsiteY20" fmla="*/ 3445785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40849" h="3398903">
                  <a:moveTo>
                    <a:pt x="631728" y="3445785"/>
                  </a:moveTo>
                  <a:lnTo>
                    <a:pt x="1050145" y="3445785"/>
                  </a:lnTo>
                  <a:cubicBezTo>
                    <a:pt x="1473250" y="3445785"/>
                    <a:pt x="1682458" y="3237748"/>
                    <a:pt x="1682458" y="2816402"/>
                  </a:cubicBezTo>
                  <a:lnTo>
                    <a:pt x="1682458" y="2185261"/>
                  </a:lnTo>
                  <a:lnTo>
                    <a:pt x="1011468" y="2185261"/>
                  </a:lnTo>
                  <a:lnTo>
                    <a:pt x="1011468" y="2744322"/>
                  </a:lnTo>
                  <a:cubicBezTo>
                    <a:pt x="1011468" y="2826950"/>
                    <a:pt x="972205" y="2865041"/>
                    <a:pt x="889576" y="2865041"/>
                  </a:cubicBezTo>
                  <a:lnTo>
                    <a:pt x="802259" y="2865041"/>
                  </a:lnTo>
                  <a:cubicBezTo>
                    <a:pt x="719631" y="2865041"/>
                    <a:pt x="680954" y="2826364"/>
                    <a:pt x="680954" y="2744322"/>
                  </a:cubicBezTo>
                  <a:lnTo>
                    <a:pt x="680954" y="702049"/>
                  </a:lnTo>
                  <a:cubicBezTo>
                    <a:pt x="680954" y="620007"/>
                    <a:pt x="719631" y="581330"/>
                    <a:pt x="802259" y="581330"/>
                  </a:cubicBezTo>
                  <a:lnTo>
                    <a:pt x="880200" y="581330"/>
                  </a:lnTo>
                  <a:cubicBezTo>
                    <a:pt x="962828" y="581330"/>
                    <a:pt x="1002092" y="620007"/>
                    <a:pt x="1002092" y="702049"/>
                  </a:cubicBezTo>
                  <a:lnTo>
                    <a:pt x="1002092" y="1176138"/>
                  </a:lnTo>
                  <a:lnTo>
                    <a:pt x="1673082" y="1176138"/>
                  </a:lnTo>
                  <a:lnTo>
                    <a:pt x="1673082" y="629383"/>
                  </a:lnTo>
                  <a:cubicBezTo>
                    <a:pt x="1673082" y="208622"/>
                    <a:pt x="1463874" y="0"/>
                    <a:pt x="1040769" y="0"/>
                  </a:cubicBezTo>
                  <a:lnTo>
                    <a:pt x="632314" y="0"/>
                  </a:lnTo>
                  <a:cubicBezTo>
                    <a:pt x="209210" y="0"/>
                    <a:pt x="1" y="208036"/>
                    <a:pt x="1" y="629383"/>
                  </a:cubicBezTo>
                  <a:lnTo>
                    <a:pt x="1" y="2816988"/>
                  </a:lnTo>
                  <a:cubicBezTo>
                    <a:pt x="-585" y="3237748"/>
                    <a:pt x="208623" y="3445785"/>
                    <a:pt x="631728" y="3445785"/>
                  </a:cubicBezTo>
                </a:path>
              </a:pathLst>
            </a:custGeom>
            <a:grpFill/>
            <a:ln w="58598" cap="flat">
              <a:noFill/>
              <a:prstDash val="solid"/>
              <a:miter/>
            </a:ln>
          </p:spPr>
          <p:txBody>
            <a:bodyPr rtlCol="0" anchor="ctr"/>
            <a:lstStyle/>
            <a:p>
              <a:endParaRPr lang="en-GB"/>
            </a:p>
          </p:txBody>
        </p:sp>
        <p:sp>
          <p:nvSpPr>
            <p:cNvPr id="18" name="Freeform: Shape 17">
              <a:extLst>
                <a:ext uri="{FF2B5EF4-FFF2-40B4-BE49-F238E27FC236}">
                  <a16:creationId xmlns:a16="http://schemas.microsoft.com/office/drawing/2014/main" id="{9C9DB120-D9B4-4E0A-97E4-A0374420F771}"/>
                </a:ext>
              </a:extLst>
            </p:cNvPr>
            <p:cNvSpPr/>
            <p:nvPr/>
          </p:nvSpPr>
          <p:spPr>
            <a:xfrm>
              <a:off x="1085548" y="350282"/>
              <a:ext cx="1640850" cy="3398903"/>
            </a:xfrm>
            <a:custGeom>
              <a:avLst/>
              <a:gdLst>
                <a:gd name="connsiteX0" fmla="*/ 632313 w 1640849"/>
                <a:gd name="connsiteY0" fmla="*/ 3445785 h 3398903"/>
                <a:gd name="connsiteX1" fmla="*/ 1050730 w 1640849"/>
                <a:gd name="connsiteY1" fmla="*/ 3445785 h 3398903"/>
                <a:gd name="connsiteX2" fmla="*/ 1683043 w 1640849"/>
                <a:gd name="connsiteY2" fmla="*/ 2816402 h 3398903"/>
                <a:gd name="connsiteX3" fmla="*/ 1683043 w 1640849"/>
                <a:gd name="connsiteY3" fmla="*/ 2185261 h 3398903"/>
                <a:gd name="connsiteX4" fmla="*/ 1011467 w 1640849"/>
                <a:gd name="connsiteY4" fmla="*/ 2185261 h 3398903"/>
                <a:gd name="connsiteX5" fmla="*/ 1011467 w 1640849"/>
                <a:gd name="connsiteY5" fmla="*/ 2744322 h 3398903"/>
                <a:gd name="connsiteX6" fmla="*/ 889575 w 1640849"/>
                <a:gd name="connsiteY6" fmla="*/ 2865041 h 3398903"/>
                <a:gd name="connsiteX7" fmla="*/ 802258 w 1640849"/>
                <a:gd name="connsiteY7" fmla="*/ 2865041 h 3398903"/>
                <a:gd name="connsiteX8" fmla="*/ 680953 w 1640849"/>
                <a:gd name="connsiteY8" fmla="*/ 2744322 h 3398903"/>
                <a:gd name="connsiteX9" fmla="*/ 680953 w 1640849"/>
                <a:gd name="connsiteY9" fmla="*/ 702049 h 3398903"/>
                <a:gd name="connsiteX10" fmla="*/ 802258 w 1640849"/>
                <a:gd name="connsiteY10" fmla="*/ 581330 h 3398903"/>
                <a:gd name="connsiteX11" fmla="*/ 880199 w 1640849"/>
                <a:gd name="connsiteY11" fmla="*/ 581330 h 3398903"/>
                <a:gd name="connsiteX12" fmla="*/ 1001504 w 1640849"/>
                <a:gd name="connsiteY12" fmla="*/ 702049 h 3398903"/>
                <a:gd name="connsiteX13" fmla="*/ 1001504 w 1640849"/>
                <a:gd name="connsiteY13" fmla="*/ 1176138 h 3398903"/>
                <a:gd name="connsiteX14" fmla="*/ 1672495 w 1640849"/>
                <a:gd name="connsiteY14" fmla="*/ 1176138 h 3398903"/>
                <a:gd name="connsiteX15" fmla="*/ 1672495 w 1640849"/>
                <a:gd name="connsiteY15" fmla="*/ 629383 h 3398903"/>
                <a:gd name="connsiteX16" fmla="*/ 1040768 w 1640849"/>
                <a:gd name="connsiteY16" fmla="*/ 0 h 3398903"/>
                <a:gd name="connsiteX17" fmla="*/ 632313 w 1640849"/>
                <a:gd name="connsiteY17" fmla="*/ 0 h 3398903"/>
                <a:gd name="connsiteX18" fmla="*/ 0 w 1640849"/>
                <a:gd name="connsiteY18" fmla="*/ 629383 h 3398903"/>
                <a:gd name="connsiteX19" fmla="*/ 0 w 1640849"/>
                <a:gd name="connsiteY19" fmla="*/ 2816988 h 3398903"/>
                <a:gd name="connsiteX20" fmla="*/ 632313 w 1640849"/>
                <a:gd name="connsiteY20" fmla="*/ 3445785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40849" h="3398903">
                  <a:moveTo>
                    <a:pt x="632313" y="3445785"/>
                  </a:moveTo>
                  <a:lnTo>
                    <a:pt x="1050730" y="3445785"/>
                  </a:lnTo>
                  <a:cubicBezTo>
                    <a:pt x="1473835" y="3445785"/>
                    <a:pt x="1683043" y="3237748"/>
                    <a:pt x="1683043" y="2816402"/>
                  </a:cubicBezTo>
                  <a:lnTo>
                    <a:pt x="1683043" y="2185261"/>
                  </a:lnTo>
                  <a:lnTo>
                    <a:pt x="1011467" y="2185261"/>
                  </a:lnTo>
                  <a:lnTo>
                    <a:pt x="1011467" y="2744322"/>
                  </a:lnTo>
                  <a:cubicBezTo>
                    <a:pt x="1011467" y="2826950"/>
                    <a:pt x="972790" y="2865041"/>
                    <a:pt x="889575" y="2865041"/>
                  </a:cubicBezTo>
                  <a:lnTo>
                    <a:pt x="802258" y="2865041"/>
                  </a:lnTo>
                  <a:cubicBezTo>
                    <a:pt x="719630" y="2865041"/>
                    <a:pt x="680953" y="2826364"/>
                    <a:pt x="680953" y="2744322"/>
                  </a:cubicBezTo>
                  <a:lnTo>
                    <a:pt x="680953" y="702049"/>
                  </a:lnTo>
                  <a:cubicBezTo>
                    <a:pt x="680953" y="620007"/>
                    <a:pt x="719630" y="581330"/>
                    <a:pt x="802258" y="581330"/>
                  </a:cubicBezTo>
                  <a:lnTo>
                    <a:pt x="880199" y="581330"/>
                  </a:lnTo>
                  <a:cubicBezTo>
                    <a:pt x="962827" y="581330"/>
                    <a:pt x="1001504" y="620007"/>
                    <a:pt x="1001504" y="702049"/>
                  </a:cubicBezTo>
                  <a:lnTo>
                    <a:pt x="1001504" y="1176138"/>
                  </a:lnTo>
                  <a:lnTo>
                    <a:pt x="1672495" y="1176138"/>
                  </a:lnTo>
                  <a:lnTo>
                    <a:pt x="1672495" y="629383"/>
                  </a:lnTo>
                  <a:cubicBezTo>
                    <a:pt x="1673081" y="208036"/>
                    <a:pt x="1463872" y="0"/>
                    <a:pt x="1040768" y="0"/>
                  </a:cubicBezTo>
                  <a:lnTo>
                    <a:pt x="632313" y="0"/>
                  </a:lnTo>
                  <a:cubicBezTo>
                    <a:pt x="209208" y="0"/>
                    <a:pt x="0" y="208036"/>
                    <a:pt x="0" y="629383"/>
                  </a:cubicBezTo>
                  <a:lnTo>
                    <a:pt x="0" y="2816988"/>
                  </a:lnTo>
                  <a:cubicBezTo>
                    <a:pt x="0" y="3237748"/>
                    <a:pt x="209208" y="3445785"/>
                    <a:pt x="632313" y="3445785"/>
                  </a:cubicBezTo>
                </a:path>
              </a:pathLst>
            </a:custGeom>
            <a:grpFill/>
            <a:ln w="58598"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046F621E-6A36-4CBD-B751-B1C95B227F65}"/>
                </a:ext>
              </a:extLst>
            </p:cNvPr>
            <p:cNvSpPr/>
            <p:nvPr/>
          </p:nvSpPr>
          <p:spPr>
            <a:xfrm>
              <a:off x="9407000" y="350282"/>
              <a:ext cx="1699452" cy="3398903"/>
            </a:xfrm>
            <a:custGeom>
              <a:avLst/>
              <a:gdLst>
                <a:gd name="connsiteX0" fmla="*/ 1021429 w 1699451"/>
                <a:gd name="connsiteY0" fmla="*/ 2744322 h 3398903"/>
                <a:gd name="connsiteX1" fmla="*/ 900123 w 1699451"/>
                <a:gd name="connsiteY1" fmla="*/ 2865041 h 3398903"/>
                <a:gd name="connsiteX2" fmla="*/ 802844 w 1699451"/>
                <a:gd name="connsiteY2" fmla="*/ 2865041 h 3398903"/>
                <a:gd name="connsiteX3" fmla="*/ 681539 w 1699451"/>
                <a:gd name="connsiteY3" fmla="*/ 2744322 h 3398903"/>
                <a:gd name="connsiteX4" fmla="*/ 681539 w 1699451"/>
                <a:gd name="connsiteY4" fmla="*/ 702049 h 3398903"/>
                <a:gd name="connsiteX5" fmla="*/ 802844 w 1699451"/>
                <a:gd name="connsiteY5" fmla="*/ 581330 h 3398903"/>
                <a:gd name="connsiteX6" fmla="*/ 900123 w 1699451"/>
                <a:gd name="connsiteY6" fmla="*/ 581330 h 3398903"/>
                <a:gd name="connsiteX7" fmla="*/ 1021429 w 1699451"/>
                <a:gd name="connsiteY7" fmla="*/ 702049 h 3398903"/>
                <a:gd name="connsiteX8" fmla="*/ 1021429 w 1699451"/>
                <a:gd name="connsiteY8" fmla="*/ 2744322 h 3398903"/>
                <a:gd name="connsiteX9" fmla="*/ 1702382 w 1699451"/>
                <a:gd name="connsiteY9" fmla="*/ 2816988 h 3398903"/>
                <a:gd name="connsiteX10" fmla="*/ 1702382 w 1699451"/>
                <a:gd name="connsiteY10" fmla="*/ 629383 h 3398903"/>
                <a:gd name="connsiteX11" fmla="*/ 1070068 w 1699451"/>
                <a:gd name="connsiteY11" fmla="*/ 0 h 3398903"/>
                <a:gd name="connsiteX12" fmla="*/ 632313 w 1699451"/>
                <a:gd name="connsiteY12" fmla="*/ 0 h 3398903"/>
                <a:gd name="connsiteX13" fmla="*/ 0 w 1699451"/>
                <a:gd name="connsiteY13" fmla="*/ 629383 h 3398903"/>
                <a:gd name="connsiteX14" fmla="*/ 0 w 1699451"/>
                <a:gd name="connsiteY14" fmla="*/ 2816988 h 3398903"/>
                <a:gd name="connsiteX15" fmla="*/ 632313 w 1699451"/>
                <a:gd name="connsiteY15" fmla="*/ 3446371 h 3398903"/>
                <a:gd name="connsiteX16" fmla="*/ 1070068 w 1699451"/>
                <a:gd name="connsiteY16" fmla="*/ 3446371 h 3398903"/>
                <a:gd name="connsiteX17" fmla="*/ 1702382 w 1699451"/>
                <a:gd name="connsiteY17" fmla="*/ 2816988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99451" h="3398903">
                  <a:moveTo>
                    <a:pt x="1021429" y="2744322"/>
                  </a:moveTo>
                  <a:cubicBezTo>
                    <a:pt x="1021429" y="2826950"/>
                    <a:pt x="982752" y="2865041"/>
                    <a:pt x="900123" y="2865041"/>
                  </a:cubicBezTo>
                  <a:lnTo>
                    <a:pt x="802844" y="2865041"/>
                  </a:lnTo>
                  <a:cubicBezTo>
                    <a:pt x="720215" y="2865041"/>
                    <a:pt x="681539" y="2826364"/>
                    <a:pt x="681539" y="2744322"/>
                  </a:cubicBezTo>
                  <a:lnTo>
                    <a:pt x="681539" y="702049"/>
                  </a:lnTo>
                  <a:cubicBezTo>
                    <a:pt x="681539" y="620007"/>
                    <a:pt x="720215" y="581330"/>
                    <a:pt x="802844" y="581330"/>
                  </a:cubicBezTo>
                  <a:lnTo>
                    <a:pt x="900123" y="581330"/>
                  </a:lnTo>
                  <a:cubicBezTo>
                    <a:pt x="982752" y="581330"/>
                    <a:pt x="1021429" y="620007"/>
                    <a:pt x="1021429" y="702049"/>
                  </a:cubicBezTo>
                  <a:lnTo>
                    <a:pt x="1021429" y="2744322"/>
                  </a:lnTo>
                  <a:close/>
                  <a:moveTo>
                    <a:pt x="1702382" y="2816988"/>
                  </a:moveTo>
                  <a:lnTo>
                    <a:pt x="1702382" y="629383"/>
                  </a:lnTo>
                  <a:cubicBezTo>
                    <a:pt x="1702382" y="208622"/>
                    <a:pt x="1493173" y="0"/>
                    <a:pt x="1070068" y="0"/>
                  </a:cubicBezTo>
                  <a:lnTo>
                    <a:pt x="632313" y="0"/>
                  </a:lnTo>
                  <a:cubicBezTo>
                    <a:pt x="209209" y="0"/>
                    <a:pt x="0" y="208036"/>
                    <a:pt x="0" y="629383"/>
                  </a:cubicBezTo>
                  <a:lnTo>
                    <a:pt x="0" y="2816988"/>
                  </a:lnTo>
                  <a:cubicBezTo>
                    <a:pt x="0" y="3238334"/>
                    <a:pt x="209209" y="3446371"/>
                    <a:pt x="632313" y="3446371"/>
                  </a:cubicBezTo>
                  <a:lnTo>
                    <a:pt x="1070068" y="3446371"/>
                  </a:lnTo>
                  <a:cubicBezTo>
                    <a:pt x="1493173" y="3445785"/>
                    <a:pt x="1702382" y="3237748"/>
                    <a:pt x="1702382" y="2816988"/>
                  </a:cubicBezTo>
                </a:path>
              </a:pathLst>
            </a:custGeom>
            <a:grpFill/>
            <a:ln w="58598"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E09AB93F-0096-4017-A3AB-A1E87680A3EA}"/>
                </a:ext>
              </a:extLst>
            </p:cNvPr>
            <p:cNvSpPr/>
            <p:nvPr/>
          </p:nvSpPr>
          <p:spPr>
            <a:xfrm>
              <a:off x="3104379" y="379583"/>
              <a:ext cx="1816655" cy="3340301"/>
            </a:xfrm>
            <a:custGeom>
              <a:avLst/>
              <a:gdLst>
                <a:gd name="connsiteX0" fmla="*/ 1031391 w 1816655"/>
                <a:gd name="connsiteY0" fmla="*/ 2303636 h 3340301"/>
                <a:gd name="connsiteX1" fmla="*/ 729592 w 1816655"/>
                <a:gd name="connsiteY1" fmla="*/ 2303636 h 3340301"/>
                <a:gd name="connsiteX2" fmla="*/ 880199 w 1816655"/>
                <a:gd name="connsiteY2" fmla="*/ 827457 h 3340301"/>
                <a:gd name="connsiteX3" fmla="*/ 1031391 w 1816655"/>
                <a:gd name="connsiteY3" fmla="*/ 2303636 h 3340301"/>
                <a:gd name="connsiteX4" fmla="*/ 1823687 w 1816655"/>
                <a:gd name="connsiteY4" fmla="*/ 3387769 h 3340301"/>
                <a:gd name="connsiteX5" fmla="*/ 1376556 w 1816655"/>
                <a:gd name="connsiteY5" fmla="*/ 0 h 3340301"/>
                <a:gd name="connsiteX6" fmla="*/ 447132 w 1816655"/>
                <a:gd name="connsiteY6" fmla="*/ 0 h 3340301"/>
                <a:gd name="connsiteX7" fmla="*/ 0 w 1816655"/>
                <a:gd name="connsiteY7" fmla="*/ 3387769 h 3340301"/>
                <a:gd name="connsiteX8" fmla="*/ 617663 w 1816655"/>
                <a:gd name="connsiteY8" fmla="*/ 3387769 h 3340301"/>
                <a:gd name="connsiteX9" fmla="*/ 666302 w 1816655"/>
                <a:gd name="connsiteY9" fmla="*/ 2894342 h 3340301"/>
                <a:gd name="connsiteX10" fmla="*/ 1094095 w 1816655"/>
                <a:gd name="connsiteY10" fmla="*/ 2894342 h 3340301"/>
                <a:gd name="connsiteX11" fmla="*/ 1147423 w 1816655"/>
                <a:gd name="connsiteY11" fmla="*/ 3387769 h 3340301"/>
                <a:gd name="connsiteX12" fmla="*/ 1823687 w 1816655"/>
                <a:gd name="connsiteY12" fmla="*/ 3387769 h 33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16655" h="3340301">
                  <a:moveTo>
                    <a:pt x="1031391" y="2303636"/>
                  </a:moveTo>
                  <a:lnTo>
                    <a:pt x="729592" y="2303636"/>
                  </a:lnTo>
                  <a:lnTo>
                    <a:pt x="880199" y="827457"/>
                  </a:lnTo>
                  <a:lnTo>
                    <a:pt x="1031391" y="2303636"/>
                  </a:lnTo>
                  <a:close/>
                  <a:moveTo>
                    <a:pt x="1823687" y="3387769"/>
                  </a:moveTo>
                  <a:lnTo>
                    <a:pt x="1376556" y="0"/>
                  </a:lnTo>
                  <a:lnTo>
                    <a:pt x="447132" y="0"/>
                  </a:lnTo>
                  <a:lnTo>
                    <a:pt x="0" y="3387769"/>
                  </a:lnTo>
                  <a:lnTo>
                    <a:pt x="617663" y="3387769"/>
                  </a:lnTo>
                  <a:lnTo>
                    <a:pt x="666302" y="2894342"/>
                  </a:lnTo>
                  <a:lnTo>
                    <a:pt x="1094095" y="2894342"/>
                  </a:lnTo>
                  <a:lnTo>
                    <a:pt x="1147423" y="3387769"/>
                  </a:lnTo>
                  <a:lnTo>
                    <a:pt x="1823687" y="3387769"/>
                  </a:lnTo>
                  <a:close/>
                </a:path>
              </a:pathLst>
            </a:custGeom>
            <a:grpFill/>
            <a:ln w="58598" cap="flat">
              <a:noFill/>
              <a:prstDash val="solid"/>
              <a:miter/>
            </a:ln>
          </p:spPr>
          <p:txBody>
            <a:bodyPr rtlCol="0" anchor="ctr"/>
            <a:lstStyle/>
            <a:p>
              <a:endParaRPr lang="en-GB"/>
            </a:p>
          </p:txBody>
        </p:sp>
      </p:grpSp>
      <p:pic>
        <p:nvPicPr>
          <p:cNvPr id="21" name="Graphic 20">
            <a:extLst>
              <a:ext uri="{FF2B5EF4-FFF2-40B4-BE49-F238E27FC236}">
                <a16:creationId xmlns:a16="http://schemas.microsoft.com/office/drawing/2014/main" id="{D86B059C-232A-4A7F-9806-D82FA1ADACB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500592" y="6241691"/>
            <a:ext cx="1204913" cy="155425"/>
          </a:xfrm>
          <a:prstGeom prst="rect">
            <a:avLst/>
          </a:prstGeom>
        </p:spPr>
      </p:pic>
    </p:spTree>
    <p:extLst>
      <p:ext uri="{BB962C8B-B14F-4D97-AF65-F5344CB8AC3E}">
        <p14:creationId xmlns:p14="http://schemas.microsoft.com/office/powerpoint/2010/main" val="21523213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3">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148DE2E-8BDC-4E36-9D7F-4A5E3AEB964C}"/>
              </a:ext>
            </a:extLst>
          </p:cNvPr>
          <p:cNvPicPr>
            <a:picLocks/>
          </p:cNvPicPr>
          <p:nvPr userDrawn="1"/>
        </p:nvPicPr>
        <p:blipFill rotWithShape="1">
          <a:blip r:embed="rId2" cstate="screen">
            <a:alphaModFix amt="75000"/>
            <a:extLst>
              <a:ext uri="{28A0092B-C50C-407E-A947-70E740481C1C}">
                <a14:useLocalDpi xmlns:a14="http://schemas.microsoft.com/office/drawing/2010/main"/>
              </a:ext>
            </a:extLst>
          </a:blip>
          <a:srcRect l="733" t="807" b="74"/>
          <a:stretch/>
        </p:blipFill>
        <p:spPr>
          <a:xfrm>
            <a:off x="0" y="0"/>
            <a:ext cx="12192000" cy="6858000"/>
          </a:xfrm>
          <a:prstGeom prst="rect">
            <a:avLst/>
          </a:prstGeom>
        </p:spPr>
      </p:pic>
      <p:sp>
        <p:nvSpPr>
          <p:cNvPr id="13" name="Title 1">
            <a:extLst>
              <a:ext uri="{FF2B5EF4-FFF2-40B4-BE49-F238E27FC236}">
                <a16:creationId xmlns:a16="http://schemas.microsoft.com/office/drawing/2014/main" id="{B8AB4D45-658E-6049-822F-6377ACE02F38}"/>
              </a:ext>
            </a:extLst>
          </p:cNvPr>
          <p:cNvSpPr>
            <a:spLocks noGrp="1"/>
          </p:cNvSpPr>
          <p:nvPr>
            <p:ph type="title" hasCustomPrompt="1"/>
          </p:nvPr>
        </p:nvSpPr>
        <p:spPr>
          <a:xfrm>
            <a:off x="1085548" y="4755595"/>
            <a:ext cx="6145913" cy="720197"/>
          </a:xfrm>
          <a:blipFill dpi="0" rotWithShape="1">
            <a:blip r:embed="rId3" cstate="email">
              <a:extLst>
                <a:ext uri="{28A0092B-C50C-407E-A947-70E740481C1C}">
                  <a14:useLocalDpi xmlns:a14="http://schemas.microsoft.com/office/drawing/2010/main"/>
                </a:ext>
              </a:extLst>
            </a:blip>
            <a:srcRect/>
            <a:stretch>
              <a:fillRect t="80000" b="16000"/>
            </a:stretch>
          </a:blipFill>
        </p:spPr>
        <p:txBody>
          <a:bodyPr vert="horz" wrap="none" lIns="0" tIns="0" rIns="0" bIns="274320" rtlCol="0" anchor="b">
            <a:spAutoFit/>
          </a:bodyPr>
          <a:lstStyle>
            <a:lvl1pPr>
              <a:defRPr lang="en-GB" sz="3200" u="none" dirty="0">
                <a:uFill>
                  <a:solidFill>
                    <a:schemeClr val="accent1"/>
                  </a:solidFill>
                </a:uFill>
              </a:defRPr>
            </a:lvl1pPr>
          </a:lstStyle>
          <a:p>
            <a:pPr lvl="0"/>
            <a:r>
              <a:rPr lang="en-US"/>
              <a:t>Presentation title GOES here</a:t>
            </a:r>
            <a:endParaRPr lang="en-GB"/>
          </a:p>
        </p:txBody>
      </p:sp>
      <p:sp>
        <p:nvSpPr>
          <p:cNvPr id="15" name="Text Placeholder 3">
            <a:extLst>
              <a:ext uri="{FF2B5EF4-FFF2-40B4-BE49-F238E27FC236}">
                <a16:creationId xmlns:a16="http://schemas.microsoft.com/office/drawing/2014/main" id="{0F02F0D9-362D-7C41-9BC4-39FFDBB3132D}"/>
              </a:ext>
            </a:extLst>
          </p:cNvPr>
          <p:cNvSpPr>
            <a:spLocks noGrp="1"/>
          </p:cNvSpPr>
          <p:nvPr>
            <p:ph type="body" sz="quarter" idx="17" hasCustomPrompt="1"/>
          </p:nvPr>
        </p:nvSpPr>
        <p:spPr>
          <a:xfrm>
            <a:off x="1085548" y="5659295"/>
            <a:ext cx="6145912" cy="307777"/>
          </a:xfrm>
        </p:spPr>
        <p:txBody>
          <a:bodyPr vert="horz" wrap="square" lIns="0" tIns="0" rIns="0" bIns="0" rtlCol="0">
            <a:spAutoFit/>
          </a:bodyPr>
          <a:lstStyle>
            <a:lvl1pPr>
              <a:defRPr lang="en-US" sz="2000" cap="all" baseline="0" dirty="0">
                <a:solidFill>
                  <a:schemeClr val="bg2">
                    <a:lumMod val="50000"/>
                  </a:schemeClr>
                </a:solidFill>
                <a:latin typeface="Century Gothic" panose="020B0502020202020204" pitchFamily="34" charset="0"/>
              </a:defRPr>
            </a:lvl1pPr>
          </a:lstStyle>
          <a:p>
            <a:pPr lvl="0"/>
            <a:r>
              <a:rPr lang="en-US"/>
              <a:t>SUBTITLE HERE</a:t>
            </a:r>
          </a:p>
        </p:txBody>
      </p:sp>
      <p:sp>
        <p:nvSpPr>
          <p:cNvPr id="18" name="Picture Placeholder 23">
            <a:extLst>
              <a:ext uri="{FF2B5EF4-FFF2-40B4-BE49-F238E27FC236}">
                <a16:creationId xmlns:a16="http://schemas.microsoft.com/office/drawing/2014/main" id="{24C4BE84-8A7F-8E4E-8AEF-D1E6C1AD1575}"/>
              </a:ext>
            </a:extLst>
          </p:cNvPr>
          <p:cNvSpPr>
            <a:spLocks noGrp="1"/>
          </p:cNvSpPr>
          <p:nvPr>
            <p:ph type="pic" sz="quarter" idx="18" hasCustomPrompt="1"/>
          </p:nvPr>
        </p:nvSpPr>
        <p:spPr>
          <a:xfrm>
            <a:off x="8341270" y="5963755"/>
            <a:ext cx="1386000" cy="673200"/>
          </a:xfrm>
        </p:spPr>
        <p:txBody>
          <a:bodyPr anchor="ctr">
            <a:normAutofit/>
          </a:bodyPr>
          <a:lstStyle>
            <a:lvl1pPr algn="ctr">
              <a:defRPr sz="1400" b="0">
                <a:solidFill>
                  <a:schemeClr val="tx1"/>
                </a:solidFill>
              </a:defRPr>
            </a:lvl1pPr>
          </a:lstStyle>
          <a:p>
            <a:r>
              <a:rPr lang="en-GB"/>
              <a:t>Place client logo here if needed</a:t>
            </a:r>
          </a:p>
        </p:txBody>
      </p:sp>
      <p:sp>
        <p:nvSpPr>
          <p:cNvPr id="12" name="Text Placeholder 2">
            <a:extLst>
              <a:ext uri="{FF2B5EF4-FFF2-40B4-BE49-F238E27FC236}">
                <a16:creationId xmlns:a16="http://schemas.microsoft.com/office/drawing/2014/main" id="{8D8FD65E-EA83-40BA-8C85-BD6868311BD0}"/>
              </a:ext>
            </a:extLst>
          </p:cNvPr>
          <p:cNvSpPr>
            <a:spLocks noGrp="1"/>
          </p:cNvSpPr>
          <p:nvPr>
            <p:ph type="body" sz="quarter" idx="14" hasCustomPrompt="1"/>
          </p:nvPr>
        </p:nvSpPr>
        <p:spPr>
          <a:xfrm>
            <a:off x="8341270" y="4853254"/>
            <a:ext cx="2765182" cy="226989"/>
          </a:xfrm>
        </p:spPr>
        <p:txBody>
          <a:bodyPr>
            <a:normAutofit/>
          </a:bodyPr>
          <a:lstStyle>
            <a:lvl1pPr>
              <a:defRPr sz="1050" b="0" i="0">
                <a:solidFill>
                  <a:schemeClr val="bg2">
                    <a:lumMod val="75000"/>
                  </a:schemeClr>
                </a:solidFill>
                <a:latin typeface="Calibri" panose="020F0502020204030204" pitchFamily="34" charset="0"/>
              </a:defRPr>
            </a:lvl1pPr>
          </a:lstStyle>
          <a:p>
            <a:pPr lvl="0"/>
            <a:r>
              <a:rPr lang="en-US"/>
              <a:t>Location</a:t>
            </a:r>
          </a:p>
        </p:txBody>
      </p:sp>
      <p:sp>
        <p:nvSpPr>
          <p:cNvPr id="14" name="Text Placeholder 4">
            <a:extLst>
              <a:ext uri="{FF2B5EF4-FFF2-40B4-BE49-F238E27FC236}">
                <a16:creationId xmlns:a16="http://schemas.microsoft.com/office/drawing/2014/main" id="{0A26A899-58C5-4C45-9F23-84FE7AB29F30}"/>
              </a:ext>
            </a:extLst>
          </p:cNvPr>
          <p:cNvSpPr>
            <a:spLocks noGrp="1"/>
          </p:cNvSpPr>
          <p:nvPr>
            <p:ph type="body" sz="quarter" idx="15" hasCustomPrompt="1"/>
          </p:nvPr>
        </p:nvSpPr>
        <p:spPr>
          <a:xfrm>
            <a:off x="8341270" y="5144858"/>
            <a:ext cx="2767691" cy="226989"/>
          </a:xfrm>
        </p:spPr>
        <p:txBody>
          <a:bodyPr>
            <a:normAutofit/>
          </a:bodyPr>
          <a:lstStyle>
            <a:lvl1pPr>
              <a:defRPr sz="1050" b="0" i="0">
                <a:solidFill>
                  <a:schemeClr val="bg2">
                    <a:lumMod val="75000"/>
                  </a:schemeClr>
                </a:solidFill>
                <a:latin typeface="Calibri" panose="020F0502020204030204" pitchFamily="34" charset="0"/>
              </a:defRPr>
            </a:lvl1pPr>
          </a:lstStyle>
          <a:p>
            <a:pPr lvl="0"/>
            <a:r>
              <a:rPr lang="en-US"/>
              <a:t>Date</a:t>
            </a:r>
          </a:p>
        </p:txBody>
      </p:sp>
      <p:sp>
        <p:nvSpPr>
          <p:cNvPr id="16" name="Text Placeholder 9">
            <a:extLst>
              <a:ext uri="{FF2B5EF4-FFF2-40B4-BE49-F238E27FC236}">
                <a16:creationId xmlns:a16="http://schemas.microsoft.com/office/drawing/2014/main" id="{8C33C9A8-71B8-44BE-AA5B-4E51D188E490}"/>
              </a:ext>
            </a:extLst>
          </p:cNvPr>
          <p:cNvSpPr>
            <a:spLocks noGrp="1"/>
          </p:cNvSpPr>
          <p:nvPr>
            <p:ph type="body" sz="quarter" idx="16" hasCustomPrompt="1"/>
          </p:nvPr>
        </p:nvSpPr>
        <p:spPr>
          <a:xfrm>
            <a:off x="8341270" y="5436112"/>
            <a:ext cx="2765182" cy="266460"/>
          </a:xfrm>
        </p:spPr>
        <p:txBody>
          <a:bodyPr>
            <a:normAutofit/>
          </a:bodyPr>
          <a:lstStyle>
            <a:lvl1pPr>
              <a:defRPr sz="1050" b="0" i="0">
                <a:solidFill>
                  <a:schemeClr val="bg2">
                    <a:lumMod val="75000"/>
                  </a:schemeClr>
                </a:solidFill>
                <a:latin typeface="Calibri" panose="020F0502020204030204" pitchFamily="34" charset="0"/>
              </a:defRPr>
            </a:lvl1pPr>
          </a:lstStyle>
          <a:p>
            <a:pPr lvl="0"/>
            <a:r>
              <a:rPr lang="en-US"/>
              <a:t>Author</a:t>
            </a:r>
          </a:p>
        </p:txBody>
      </p:sp>
      <p:grpSp>
        <p:nvGrpSpPr>
          <p:cNvPr id="10" name="Group 9">
            <a:extLst>
              <a:ext uri="{FF2B5EF4-FFF2-40B4-BE49-F238E27FC236}">
                <a16:creationId xmlns:a16="http://schemas.microsoft.com/office/drawing/2014/main" id="{D75B2052-6BCD-43D1-8A51-E12BD2A28685}"/>
              </a:ext>
            </a:extLst>
          </p:cNvPr>
          <p:cNvGrpSpPr/>
          <p:nvPr userDrawn="1"/>
        </p:nvGrpSpPr>
        <p:grpSpPr>
          <a:xfrm>
            <a:off x="1085548" y="350282"/>
            <a:ext cx="10020904" cy="3398903"/>
            <a:chOff x="1085548" y="350282"/>
            <a:chExt cx="10020904" cy="3398903"/>
          </a:xfrm>
          <a:solidFill>
            <a:schemeClr val="tx1">
              <a:alpha val="10000"/>
            </a:schemeClr>
          </a:solidFill>
        </p:grpSpPr>
        <p:sp>
          <p:nvSpPr>
            <p:cNvPr id="17" name="Freeform: Shape 16">
              <a:extLst>
                <a:ext uri="{FF2B5EF4-FFF2-40B4-BE49-F238E27FC236}">
                  <a16:creationId xmlns:a16="http://schemas.microsoft.com/office/drawing/2014/main" id="{9EC5D55B-F1F7-4B7F-B264-7F995F80510B}"/>
                </a:ext>
              </a:extLst>
            </p:cNvPr>
            <p:cNvSpPr/>
            <p:nvPr/>
          </p:nvSpPr>
          <p:spPr>
            <a:xfrm>
              <a:off x="5301360" y="379583"/>
              <a:ext cx="1582248" cy="3340301"/>
            </a:xfrm>
            <a:custGeom>
              <a:avLst/>
              <a:gdLst>
                <a:gd name="connsiteX0" fmla="*/ 948177 w 1582248"/>
                <a:gd name="connsiteY0" fmla="*/ 1509582 h 3340301"/>
                <a:gd name="connsiteX1" fmla="*/ 826871 w 1582248"/>
                <a:gd name="connsiteY1" fmla="*/ 1630888 h 3340301"/>
                <a:gd name="connsiteX2" fmla="*/ 680952 w 1582248"/>
                <a:gd name="connsiteY2" fmla="*/ 1630888 h 3340301"/>
                <a:gd name="connsiteX3" fmla="*/ 680952 w 1582248"/>
                <a:gd name="connsiteY3" fmla="*/ 580744 h 3340301"/>
                <a:gd name="connsiteX4" fmla="*/ 826871 w 1582248"/>
                <a:gd name="connsiteY4" fmla="*/ 580744 h 3340301"/>
                <a:gd name="connsiteX5" fmla="*/ 948177 w 1582248"/>
                <a:gd name="connsiteY5" fmla="*/ 701463 h 3340301"/>
                <a:gd name="connsiteX6" fmla="*/ 948177 w 1582248"/>
                <a:gd name="connsiteY6" fmla="*/ 1509582 h 3340301"/>
                <a:gd name="connsiteX7" fmla="*/ 1629129 w 1582248"/>
                <a:gd name="connsiteY7" fmla="*/ 1582248 h 3340301"/>
                <a:gd name="connsiteX8" fmla="*/ 1629129 w 1582248"/>
                <a:gd name="connsiteY8" fmla="*/ 628797 h 3340301"/>
                <a:gd name="connsiteX9" fmla="*/ 996816 w 1582248"/>
                <a:gd name="connsiteY9" fmla="*/ 0 h 3340301"/>
                <a:gd name="connsiteX10" fmla="*/ 0 w 1582248"/>
                <a:gd name="connsiteY10" fmla="*/ 0 h 3340301"/>
                <a:gd name="connsiteX11" fmla="*/ 0 w 1582248"/>
                <a:gd name="connsiteY11" fmla="*/ 3387769 h 3340301"/>
                <a:gd name="connsiteX12" fmla="*/ 680952 w 1582248"/>
                <a:gd name="connsiteY12" fmla="*/ 3387769 h 3340301"/>
                <a:gd name="connsiteX13" fmla="*/ 680952 w 1582248"/>
                <a:gd name="connsiteY13" fmla="*/ 2211631 h 3340301"/>
                <a:gd name="connsiteX14" fmla="*/ 996816 w 1582248"/>
                <a:gd name="connsiteY14" fmla="*/ 2211631 h 3340301"/>
                <a:gd name="connsiteX15" fmla="*/ 1629129 w 1582248"/>
                <a:gd name="connsiteY15" fmla="*/ 1582248 h 33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82248" h="3340301">
                  <a:moveTo>
                    <a:pt x="948177" y="1509582"/>
                  </a:moveTo>
                  <a:cubicBezTo>
                    <a:pt x="948177" y="1591624"/>
                    <a:pt x="908913" y="1630888"/>
                    <a:pt x="826871" y="1630888"/>
                  </a:cubicBezTo>
                  <a:lnTo>
                    <a:pt x="680952" y="1630888"/>
                  </a:lnTo>
                  <a:lnTo>
                    <a:pt x="680952" y="580744"/>
                  </a:lnTo>
                  <a:lnTo>
                    <a:pt x="826871" y="580744"/>
                  </a:lnTo>
                  <a:cubicBezTo>
                    <a:pt x="909499" y="580744"/>
                    <a:pt x="948177" y="619421"/>
                    <a:pt x="948177" y="701463"/>
                  </a:cubicBezTo>
                  <a:lnTo>
                    <a:pt x="948177" y="1509582"/>
                  </a:lnTo>
                  <a:close/>
                  <a:moveTo>
                    <a:pt x="1629129" y="1582248"/>
                  </a:moveTo>
                  <a:lnTo>
                    <a:pt x="1629129" y="628797"/>
                  </a:lnTo>
                  <a:cubicBezTo>
                    <a:pt x="1629129" y="207450"/>
                    <a:pt x="1419921" y="0"/>
                    <a:pt x="996816" y="0"/>
                  </a:cubicBezTo>
                  <a:lnTo>
                    <a:pt x="0" y="0"/>
                  </a:lnTo>
                  <a:lnTo>
                    <a:pt x="0" y="3387769"/>
                  </a:lnTo>
                  <a:lnTo>
                    <a:pt x="680952" y="3387769"/>
                  </a:lnTo>
                  <a:lnTo>
                    <a:pt x="680952" y="2211631"/>
                  </a:lnTo>
                  <a:lnTo>
                    <a:pt x="996816" y="2211631"/>
                  </a:lnTo>
                  <a:cubicBezTo>
                    <a:pt x="1419921" y="2211631"/>
                    <a:pt x="1629129" y="2003595"/>
                    <a:pt x="1629129" y="1582248"/>
                  </a:cubicBezTo>
                </a:path>
              </a:pathLst>
            </a:custGeom>
            <a:grpFill/>
            <a:ln w="58598"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B8E515F4-DC9E-47F8-8543-4FDBF82B9681}"/>
                </a:ext>
              </a:extLst>
            </p:cNvPr>
            <p:cNvSpPr/>
            <p:nvPr/>
          </p:nvSpPr>
          <p:spPr>
            <a:xfrm>
              <a:off x="7319018" y="350282"/>
              <a:ext cx="1640850" cy="3398903"/>
            </a:xfrm>
            <a:custGeom>
              <a:avLst/>
              <a:gdLst>
                <a:gd name="connsiteX0" fmla="*/ 631728 w 1640849"/>
                <a:gd name="connsiteY0" fmla="*/ 3445785 h 3398903"/>
                <a:gd name="connsiteX1" fmla="*/ 1050145 w 1640849"/>
                <a:gd name="connsiteY1" fmla="*/ 3445785 h 3398903"/>
                <a:gd name="connsiteX2" fmla="*/ 1682458 w 1640849"/>
                <a:gd name="connsiteY2" fmla="*/ 2816402 h 3398903"/>
                <a:gd name="connsiteX3" fmla="*/ 1682458 w 1640849"/>
                <a:gd name="connsiteY3" fmla="*/ 2185261 h 3398903"/>
                <a:gd name="connsiteX4" fmla="*/ 1011468 w 1640849"/>
                <a:gd name="connsiteY4" fmla="*/ 2185261 h 3398903"/>
                <a:gd name="connsiteX5" fmla="*/ 1011468 w 1640849"/>
                <a:gd name="connsiteY5" fmla="*/ 2744322 h 3398903"/>
                <a:gd name="connsiteX6" fmla="*/ 889576 w 1640849"/>
                <a:gd name="connsiteY6" fmla="*/ 2865041 h 3398903"/>
                <a:gd name="connsiteX7" fmla="*/ 802259 w 1640849"/>
                <a:gd name="connsiteY7" fmla="*/ 2865041 h 3398903"/>
                <a:gd name="connsiteX8" fmla="*/ 680954 w 1640849"/>
                <a:gd name="connsiteY8" fmla="*/ 2744322 h 3398903"/>
                <a:gd name="connsiteX9" fmla="*/ 680954 w 1640849"/>
                <a:gd name="connsiteY9" fmla="*/ 702049 h 3398903"/>
                <a:gd name="connsiteX10" fmla="*/ 802259 w 1640849"/>
                <a:gd name="connsiteY10" fmla="*/ 581330 h 3398903"/>
                <a:gd name="connsiteX11" fmla="*/ 880200 w 1640849"/>
                <a:gd name="connsiteY11" fmla="*/ 581330 h 3398903"/>
                <a:gd name="connsiteX12" fmla="*/ 1002092 w 1640849"/>
                <a:gd name="connsiteY12" fmla="*/ 702049 h 3398903"/>
                <a:gd name="connsiteX13" fmla="*/ 1002092 w 1640849"/>
                <a:gd name="connsiteY13" fmla="*/ 1176138 h 3398903"/>
                <a:gd name="connsiteX14" fmla="*/ 1673082 w 1640849"/>
                <a:gd name="connsiteY14" fmla="*/ 1176138 h 3398903"/>
                <a:gd name="connsiteX15" fmla="*/ 1673082 w 1640849"/>
                <a:gd name="connsiteY15" fmla="*/ 629383 h 3398903"/>
                <a:gd name="connsiteX16" fmla="*/ 1040769 w 1640849"/>
                <a:gd name="connsiteY16" fmla="*/ 0 h 3398903"/>
                <a:gd name="connsiteX17" fmla="*/ 632314 w 1640849"/>
                <a:gd name="connsiteY17" fmla="*/ 0 h 3398903"/>
                <a:gd name="connsiteX18" fmla="*/ 1 w 1640849"/>
                <a:gd name="connsiteY18" fmla="*/ 629383 h 3398903"/>
                <a:gd name="connsiteX19" fmla="*/ 1 w 1640849"/>
                <a:gd name="connsiteY19" fmla="*/ 2816988 h 3398903"/>
                <a:gd name="connsiteX20" fmla="*/ 631728 w 1640849"/>
                <a:gd name="connsiteY20" fmla="*/ 3445785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40849" h="3398903">
                  <a:moveTo>
                    <a:pt x="631728" y="3445785"/>
                  </a:moveTo>
                  <a:lnTo>
                    <a:pt x="1050145" y="3445785"/>
                  </a:lnTo>
                  <a:cubicBezTo>
                    <a:pt x="1473250" y="3445785"/>
                    <a:pt x="1682458" y="3237748"/>
                    <a:pt x="1682458" y="2816402"/>
                  </a:cubicBezTo>
                  <a:lnTo>
                    <a:pt x="1682458" y="2185261"/>
                  </a:lnTo>
                  <a:lnTo>
                    <a:pt x="1011468" y="2185261"/>
                  </a:lnTo>
                  <a:lnTo>
                    <a:pt x="1011468" y="2744322"/>
                  </a:lnTo>
                  <a:cubicBezTo>
                    <a:pt x="1011468" y="2826950"/>
                    <a:pt x="972205" y="2865041"/>
                    <a:pt x="889576" y="2865041"/>
                  </a:cubicBezTo>
                  <a:lnTo>
                    <a:pt x="802259" y="2865041"/>
                  </a:lnTo>
                  <a:cubicBezTo>
                    <a:pt x="719631" y="2865041"/>
                    <a:pt x="680954" y="2826364"/>
                    <a:pt x="680954" y="2744322"/>
                  </a:cubicBezTo>
                  <a:lnTo>
                    <a:pt x="680954" y="702049"/>
                  </a:lnTo>
                  <a:cubicBezTo>
                    <a:pt x="680954" y="620007"/>
                    <a:pt x="719631" y="581330"/>
                    <a:pt x="802259" y="581330"/>
                  </a:cubicBezTo>
                  <a:lnTo>
                    <a:pt x="880200" y="581330"/>
                  </a:lnTo>
                  <a:cubicBezTo>
                    <a:pt x="962828" y="581330"/>
                    <a:pt x="1002092" y="620007"/>
                    <a:pt x="1002092" y="702049"/>
                  </a:cubicBezTo>
                  <a:lnTo>
                    <a:pt x="1002092" y="1176138"/>
                  </a:lnTo>
                  <a:lnTo>
                    <a:pt x="1673082" y="1176138"/>
                  </a:lnTo>
                  <a:lnTo>
                    <a:pt x="1673082" y="629383"/>
                  </a:lnTo>
                  <a:cubicBezTo>
                    <a:pt x="1673082" y="208622"/>
                    <a:pt x="1463874" y="0"/>
                    <a:pt x="1040769" y="0"/>
                  </a:cubicBezTo>
                  <a:lnTo>
                    <a:pt x="632314" y="0"/>
                  </a:lnTo>
                  <a:cubicBezTo>
                    <a:pt x="209210" y="0"/>
                    <a:pt x="1" y="208036"/>
                    <a:pt x="1" y="629383"/>
                  </a:cubicBezTo>
                  <a:lnTo>
                    <a:pt x="1" y="2816988"/>
                  </a:lnTo>
                  <a:cubicBezTo>
                    <a:pt x="-585" y="3237748"/>
                    <a:pt x="208623" y="3445785"/>
                    <a:pt x="631728" y="3445785"/>
                  </a:cubicBezTo>
                </a:path>
              </a:pathLst>
            </a:custGeom>
            <a:grpFill/>
            <a:ln w="58598"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5B2C71D2-960F-4A9A-B8F7-F9B11797C3AE}"/>
                </a:ext>
              </a:extLst>
            </p:cNvPr>
            <p:cNvSpPr/>
            <p:nvPr/>
          </p:nvSpPr>
          <p:spPr>
            <a:xfrm>
              <a:off x="1085548" y="350282"/>
              <a:ext cx="1640850" cy="3398903"/>
            </a:xfrm>
            <a:custGeom>
              <a:avLst/>
              <a:gdLst>
                <a:gd name="connsiteX0" fmla="*/ 632313 w 1640849"/>
                <a:gd name="connsiteY0" fmla="*/ 3445785 h 3398903"/>
                <a:gd name="connsiteX1" fmla="*/ 1050730 w 1640849"/>
                <a:gd name="connsiteY1" fmla="*/ 3445785 h 3398903"/>
                <a:gd name="connsiteX2" fmla="*/ 1683043 w 1640849"/>
                <a:gd name="connsiteY2" fmla="*/ 2816402 h 3398903"/>
                <a:gd name="connsiteX3" fmla="*/ 1683043 w 1640849"/>
                <a:gd name="connsiteY3" fmla="*/ 2185261 h 3398903"/>
                <a:gd name="connsiteX4" fmla="*/ 1011467 w 1640849"/>
                <a:gd name="connsiteY4" fmla="*/ 2185261 h 3398903"/>
                <a:gd name="connsiteX5" fmla="*/ 1011467 w 1640849"/>
                <a:gd name="connsiteY5" fmla="*/ 2744322 h 3398903"/>
                <a:gd name="connsiteX6" fmla="*/ 889575 w 1640849"/>
                <a:gd name="connsiteY6" fmla="*/ 2865041 h 3398903"/>
                <a:gd name="connsiteX7" fmla="*/ 802258 w 1640849"/>
                <a:gd name="connsiteY7" fmla="*/ 2865041 h 3398903"/>
                <a:gd name="connsiteX8" fmla="*/ 680953 w 1640849"/>
                <a:gd name="connsiteY8" fmla="*/ 2744322 h 3398903"/>
                <a:gd name="connsiteX9" fmla="*/ 680953 w 1640849"/>
                <a:gd name="connsiteY9" fmla="*/ 702049 h 3398903"/>
                <a:gd name="connsiteX10" fmla="*/ 802258 w 1640849"/>
                <a:gd name="connsiteY10" fmla="*/ 581330 h 3398903"/>
                <a:gd name="connsiteX11" fmla="*/ 880199 w 1640849"/>
                <a:gd name="connsiteY11" fmla="*/ 581330 h 3398903"/>
                <a:gd name="connsiteX12" fmla="*/ 1001504 w 1640849"/>
                <a:gd name="connsiteY12" fmla="*/ 702049 h 3398903"/>
                <a:gd name="connsiteX13" fmla="*/ 1001504 w 1640849"/>
                <a:gd name="connsiteY13" fmla="*/ 1176138 h 3398903"/>
                <a:gd name="connsiteX14" fmla="*/ 1672495 w 1640849"/>
                <a:gd name="connsiteY14" fmla="*/ 1176138 h 3398903"/>
                <a:gd name="connsiteX15" fmla="*/ 1672495 w 1640849"/>
                <a:gd name="connsiteY15" fmla="*/ 629383 h 3398903"/>
                <a:gd name="connsiteX16" fmla="*/ 1040768 w 1640849"/>
                <a:gd name="connsiteY16" fmla="*/ 0 h 3398903"/>
                <a:gd name="connsiteX17" fmla="*/ 632313 w 1640849"/>
                <a:gd name="connsiteY17" fmla="*/ 0 h 3398903"/>
                <a:gd name="connsiteX18" fmla="*/ 0 w 1640849"/>
                <a:gd name="connsiteY18" fmla="*/ 629383 h 3398903"/>
                <a:gd name="connsiteX19" fmla="*/ 0 w 1640849"/>
                <a:gd name="connsiteY19" fmla="*/ 2816988 h 3398903"/>
                <a:gd name="connsiteX20" fmla="*/ 632313 w 1640849"/>
                <a:gd name="connsiteY20" fmla="*/ 3445785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40849" h="3398903">
                  <a:moveTo>
                    <a:pt x="632313" y="3445785"/>
                  </a:moveTo>
                  <a:lnTo>
                    <a:pt x="1050730" y="3445785"/>
                  </a:lnTo>
                  <a:cubicBezTo>
                    <a:pt x="1473835" y="3445785"/>
                    <a:pt x="1683043" y="3237748"/>
                    <a:pt x="1683043" y="2816402"/>
                  </a:cubicBezTo>
                  <a:lnTo>
                    <a:pt x="1683043" y="2185261"/>
                  </a:lnTo>
                  <a:lnTo>
                    <a:pt x="1011467" y="2185261"/>
                  </a:lnTo>
                  <a:lnTo>
                    <a:pt x="1011467" y="2744322"/>
                  </a:lnTo>
                  <a:cubicBezTo>
                    <a:pt x="1011467" y="2826950"/>
                    <a:pt x="972790" y="2865041"/>
                    <a:pt x="889575" y="2865041"/>
                  </a:cubicBezTo>
                  <a:lnTo>
                    <a:pt x="802258" y="2865041"/>
                  </a:lnTo>
                  <a:cubicBezTo>
                    <a:pt x="719630" y="2865041"/>
                    <a:pt x="680953" y="2826364"/>
                    <a:pt x="680953" y="2744322"/>
                  </a:cubicBezTo>
                  <a:lnTo>
                    <a:pt x="680953" y="702049"/>
                  </a:lnTo>
                  <a:cubicBezTo>
                    <a:pt x="680953" y="620007"/>
                    <a:pt x="719630" y="581330"/>
                    <a:pt x="802258" y="581330"/>
                  </a:cubicBezTo>
                  <a:lnTo>
                    <a:pt x="880199" y="581330"/>
                  </a:lnTo>
                  <a:cubicBezTo>
                    <a:pt x="962827" y="581330"/>
                    <a:pt x="1001504" y="620007"/>
                    <a:pt x="1001504" y="702049"/>
                  </a:cubicBezTo>
                  <a:lnTo>
                    <a:pt x="1001504" y="1176138"/>
                  </a:lnTo>
                  <a:lnTo>
                    <a:pt x="1672495" y="1176138"/>
                  </a:lnTo>
                  <a:lnTo>
                    <a:pt x="1672495" y="629383"/>
                  </a:lnTo>
                  <a:cubicBezTo>
                    <a:pt x="1673081" y="208036"/>
                    <a:pt x="1463872" y="0"/>
                    <a:pt x="1040768" y="0"/>
                  </a:cubicBezTo>
                  <a:lnTo>
                    <a:pt x="632313" y="0"/>
                  </a:lnTo>
                  <a:cubicBezTo>
                    <a:pt x="209208" y="0"/>
                    <a:pt x="0" y="208036"/>
                    <a:pt x="0" y="629383"/>
                  </a:cubicBezTo>
                  <a:lnTo>
                    <a:pt x="0" y="2816988"/>
                  </a:lnTo>
                  <a:cubicBezTo>
                    <a:pt x="0" y="3237748"/>
                    <a:pt x="209208" y="3445785"/>
                    <a:pt x="632313" y="3445785"/>
                  </a:cubicBezTo>
                </a:path>
              </a:pathLst>
            </a:custGeom>
            <a:grpFill/>
            <a:ln w="58598"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FB90DF89-5E51-4B40-BFB7-E1D917EA44AA}"/>
                </a:ext>
              </a:extLst>
            </p:cNvPr>
            <p:cNvSpPr/>
            <p:nvPr/>
          </p:nvSpPr>
          <p:spPr>
            <a:xfrm>
              <a:off x="9407000" y="350282"/>
              <a:ext cx="1699452" cy="3398903"/>
            </a:xfrm>
            <a:custGeom>
              <a:avLst/>
              <a:gdLst>
                <a:gd name="connsiteX0" fmla="*/ 1021429 w 1699451"/>
                <a:gd name="connsiteY0" fmla="*/ 2744322 h 3398903"/>
                <a:gd name="connsiteX1" fmla="*/ 900123 w 1699451"/>
                <a:gd name="connsiteY1" fmla="*/ 2865041 h 3398903"/>
                <a:gd name="connsiteX2" fmla="*/ 802844 w 1699451"/>
                <a:gd name="connsiteY2" fmla="*/ 2865041 h 3398903"/>
                <a:gd name="connsiteX3" fmla="*/ 681539 w 1699451"/>
                <a:gd name="connsiteY3" fmla="*/ 2744322 h 3398903"/>
                <a:gd name="connsiteX4" fmla="*/ 681539 w 1699451"/>
                <a:gd name="connsiteY4" fmla="*/ 702049 h 3398903"/>
                <a:gd name="connsiteX5" fmla="*/ 802844 w 1699451"/>
                <a:gd name="connsiteY5" fmla="*/ 581330 h 3398903"/>
                <a:gd name="connsiteX6" fmla="*/ 900123 w 1699451"/>
                <a:gd name="connsiteY6" fmla="*/ 581330 h 3398903"/>
                <a:gd name="connsiteX7" fmla="*/ 1021429 w 1699451"/>
                <a:gd name="connsiteY7" fmla="*/ 702049 h 3398903"/>
                <a:gd name="connsiteX8" fmla="*/ 1021429 w 1699451"/>
                <a:gd name="connsiteY8" fmla="*/ 2744322 h 3398903"/>
                <a:gd name="connsiteX9" fmla="*/ 1702382 w 1699451"/>
                <a:gd name="connsiteY9" fmla="*/ 2816988 h 3398903"/>
                <a:gd name="connsiteX10" fmla="*/ 1702382 w 1699451"/>
                <a:gd name="connsiteY10" fmla="*/ 629383 h 3398903"/>
                <a:gd name="connsiteX11" fmla="*/ 1070068 w 1699451"/>
                <a:gd name="connsiteY11" fmla="*/ 0 h 3398903"/>
                <a:gd name="connsiteX12" fmla="*/ 632313 w 1699451"/>
                <a:gd name="connsiteY12" fmla="*/ 0 h 3398903"/>
                <a:gd name="connsiteX13" fmla="*/ 0 w 1699451"/>
                <a:gd name="connsiteY13" fmla="*/ 629383 h 3398903"/>
                <a:gd name="connsiteX14" fmla="*/ 0 w 1699451"/>
                <a:gd name="connsiteY14" fmla="*/ 2816988 h 3398903"/>
                <a:gd name="connsiteX15" fmla="*/ 632313 w 1699451"/>
                <a:gd name="connsiteY15" fmla="*/ 3446371 h 3398903"/>
                <a:gd name="connsiteX16" fmla="*/ 1070068 w 1699451"/>
                <a:gd name="connsiteY16" fmla="*/ 3446371 h 3398903"/>
                <a:gd name="connsiteX17" fmla="*/ 1702382 w 1699451"/>
                <a:gd name="connsiteY17" fmla="*/ 2816988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99451" h="3398903">
                  <a:moveTo>
                    <a:pt x="1021429" y="2744322"/>
                  </a:moveTo>
                  <a:cubicBezTo>
                    <a:pt x="1021429" y="2826950"/>
                    <a:pt x="982752" y="2865041"/>
                    <a:pt x="900123" y="2865041"/>
                  </a:cubicBezTo>
                  <a:lnTo>
                    <a:pt x="802844" y="2865041"/>
                  </a:lnTo>
                  <a:cubicBezTo>
                    <a:pt x="720215" y="2865041"/>
                    <a:pt x="681539" y="2826364"/>
                    <a:pt x="681539" y="2744322"/>
                  </a:cubicBezTo>
                  <a:lnTo>
                    <a:pt x="681539" y="702049"/>
                  </a:lnTo>
                  <a:cubicBezTo>
                    <a:pt x="681539" y="620007"/>
                    <a:pt x="720215" y="581330"/>
                    <a:pt x="802844" y="581330"/>
                  </a:cubicBezTo>
                  <a:lnTo>
                    <a:pt x="900123" y="581330"/>
                  </a:lnTo>
                  <a:cubicBezTo>
                    <a:pt x="982752" y="581330"/>
                    <a:pt x="1021429" y="620007"/>
                    <a:pt x="1021429" y="702049"/>
                  </a:cubicBezTo>
                  <a:lnTo>
                    <a:pt x="1021429" y="2744322"/>
                  </a:lnTo>
                  <a:close/>
                  <a:moveTo>
                    <a:pt x="1702382" y="2816988"/>
                  </a:moveTo>
                  <a:lnTo>
                    <a:pt x="1702382" y="629383"/>
                  </a:lnTo>
                  <a:cubicBezTo>
                    <a:pt x="1702382" y="208622"/>
                    <a:pt x="1493173" y="0"/>
                    <a:pt x="1070068" y="0"/>
                  </a:cubicBezTo>
                  <a:lnTo>
                    <a:pt x="632313" y="0"/>
                  </a:lnTo>
                  <a:cubicBezTo>
                    <a:pt x="209209" y="0"/>
                    <a:pt x="0" y="208036"/>
                    <a:pt x="0" y="629383"/>
                  </a:cubicBezTo>
                  <a:lnTo>
                    <a:pt x="0" y="2816988"/>
                  </a:lnTo>
                  <a:cubicBezTo>
                    <a:pt x="0" y="3238334"/>
                    <a:pt x="209209" y="3446371"/>
                    <a:pt x="632313" y="3446371"/>
                  </a:cubicBezTo>
                  <a:lnTo>
                    <a:pt x="1070068" y="3446371"/>
                  </a:lnTo>
                  <a:cubicBezTo>
                    <a:pt x="1493173" y="3445785"/>
                    <a:pt x="1702382" y="3237748"/>
                    <a:pt x="1702382" y="2816988"/>
                  </a:cubicBezTo>
                </a:path>
              </a:pathLst>
            </a:custGeom>
            <a:grpFill/>
            <a:ln w="58598"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DDD6550B-0913-4C97-8A69-60037CF09958}"/>
                </a:ext>
              </a:extLst>
            </p:cNvPr>
            <p:cNvSpPr/>
            <p:nvPr/>
          </p:nvSpPr>
          <p:spPr>
            <a:xfrm>
              <a:off x="3104379" y="379583"/>
              <a:ext cx="1816655" cy="3340301"/>
            </a:xfrm>
            <a:custGeom>
              <a:avLst/>
              <a:gdLst>
                <a:gd name="connsiteX0" fmla="*/ 1031391 w 1816655"/>
                <a:gd name="connsiteY0" fmla="*/ 2303636 h 3340301"/>
                <a:gd name="connsiteX1" fmla="*/ 729592 w 1816655"/>
                <a:gd name="connsiteY1" fmla="*/ 2303636 h 3340301"/>
                <a:gd name="connsiteX2" fmla="*/ 880199 w 1816655"/>
                <a:gd name="connsiteY2" fmla="*/ 827457 h 3340301"/>
                <a:gd name="connsiteX3" fmla="*/ 1031391 w 1816655"/>
                <a:gd name="connsiteY3" fmla="*/ 2303636 h 3340301"/>
                <a:gd name="connsiteX4" fmla="*/ 1823687 w 1816655"/>
                <a:gd name="connsiteY4" fmla="*/ 3387769 h 3340301"/>
                <a:gd name="connsiteX5" fmla="*/ 1376556 w 1816655"/>
                <a:gd name="connsiteY5" fmla="*/ 0 h 3340301"/>
                <a:gd name="connsiteX6" fmla="*/ 447132 w 1816655"/>
                <a:gd name="connsiteY6" fmla="*/ 0 h 3340301"/>
                <a:gd name="connsiteX7" fmla="*/ 0 w 1816655"/>
                <a:gd name="connsiteY7" fmla="*/ 3387769 h 3340301"/>
                <a:gd name="connsiteX8" fmla="*/ 617663 w 1816655"/>
                <a:gd name="connsiteY8" fmla="*/ 3387769 h 3340301"/>
                <a:gd name="connsiteX9" fmla="*/ 666302 w 1816655"/>
                <a:gd name="connsiteY9" fmla="*/ 2894342 h 3340301"/>
                <a:gd name="connsiteX10" fmla="*/ 1094095 w 1816655"/>
                <a:gd name="connsiteY10" fmla="*/ 2894342 h 3340301"/>
                <a:gd name="connsiteX11" fmla="*/ 1147423 w 1816655"/>
                <a:gd name="connsiteY11" fmla="*/ 3387769 h 3340301"/>
                <a:gd name="connsiteX12" fmla="*/ 1823687 w 1816655"/>
                <a:gd name="connsiteY12" fmla="*/ 3387769 h 33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16655" h="3340301">
                  <a:moveTo>
                    <a:pt x="1031391" y="2303636"/>
                  </a:moveTo>
                  <a:lnTo>
                    <a:pt x="729592" y="2303636"/>
                  </a:lnTo>
                  <a:lnTo>
                    <a:pt x="880199" y="827457"/>
                  </a:lnTo>
                  <a:lnTo>
                    <a:pt x="1031391" y="2303636"/>
                  </a:lnTo>
                  <a:close/>
                  <a:moveTo>
                    <a:pt x="1823687" y="3387769"/>
                  </a:moveTo>
                  <a:lnTo>
                    <a:pt x="1376556" y="0"/>
                  </a:lnTo>
                  <a:lnTo>
                    <a:pt x="447132" y="0"/>
                  </a:lnTo>
                  <a:lnTo>
                    <a:pt x="0" y="3387769"/>
                  </a:lnTo>
                  <a:lnTo>
                    <a:pt x="617663" y="3387769"/>
                  </a:lnTo>
                  <a:lnTo>
                    <a:pt x="666302" y="2894342"/>
                  </a:lnTo>
                  <a:lnTo>
                    <a:pt x="1094095" y="2894342"/>
                  </a:lnTo>
                  <a:lnTo>
                    <a:pt x="1147423" y="3387769"/>
                  </a:lnTo>
                  <a:lnTo>
                    <a:pt x="1823687" y="3387769"/>
                  </a:lnTo>
                  <a:close/>
                </a:path>
              </a:pathLst>
            </a:custGeom>
            <a:grpFill/>
            <a:ln w="58598" cap="flat">
              <a:noFill/>
              <a:prstDash val="solid"/>
              <a:miter/>
            </a:ln>
          </p:spPr>
          <p:txBody>
            <a:bodyPr rtlCol="0" anchor="ctr"/>
            <a:lstStyle/>
            <a:p>
              <a:endParaRPr lang="en-GB"/>
            </a:p>
          </p:txBody>
        </p:sp>
      </p:grpSp>
      <p:pic>
        <p:nvPicPr>
          <p:cNvPr id="23" name="Graphic 22">
            <a:extLst>
              <a:ext uri="{FF2B5EF4-FFF2-40B4-BE49-F238E27FC236}">
                <a16:creationId xmlns:a16="http://schemas.microsoft.com/office/drawing/2014/main" id="{FB7EB010-7D8E-4D69-B4F4-4021B25FA1D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500592" y="6241691"/>
            <a:ext cx="1204913" cy="155425"/>
          </a:xfrm>
          <a:prstGeom prst="rect">
            <a:avLst/>
          </a:prstGeom>
        </p:spPr>
      </p:pic>
    </p:spTree>
    <p:extLst>
      <p:ext uri="{BB962C8B-B14F-4D97-AF65-F5344CB8AC3E}">
        <p14:creationId xmlns:p14="http://schemas.microsoft.com/office/powerpoint/2010/main" val="27928016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with Content">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C6B67007-3E56-6F41-A1C4-064534E2833A}"/>
              </a:ext>
            </a:extLst>
          </p:cNvPr>
          <p:cNvSpPr>
            <a:spLocks noGrp="1"/>
          </p:cNvSpPr>
          <p:nvPr>
            <p:ph idx="1"/>
          </p:nvPr>
        </p:nvSpPr>
        <p:spPr>
          <a:xfrm>
            <a:off x="542647" y="1629968"/>
            <a:ext cx="11090275" cy="4608513"/>
          </a:xfrm>
          <a:prstGeom prst="rect">
            <a:avLst/>
          </a:prstGeom>
        </p:spPr>
        <p:txBody>
          <a:bodyPr vert="horz" lIns="0" tIns="0" rIns="0" bIns="0" rtlCol="0">
            <a:noAutofit/>
          </a:bodyPr>
          <a:lstStyle>
            <a:lvl1pPr>
              <a:defRPr sz="1400" b="0" i="0">
                <a:solidFill>
                  <a:schemeClr val="tx1"/>
                </a:solidFill>
                <a:latin typeface="Aptos" panose="020B0004020202020204" pitchFamily="34" charset="0"/>
              </a:defRPr>
            </a:lvl1pPr>
            <a:lvl2pPr>
              <a:defRPr sz="1400" b="0" i="0">
                <a:solidFill>
                  <a:schemeClr val="tx1"/>
                </a:solidFill>
                <a:latin typeface="Aptos" panose="020B0004020202020204" pitchFamily="34" charset="0"/>
              </a:defRPr>
            </a:lvl2pPr>
            <a:lvl3pPr marL="180975" indent="-180975">
              <a:buClrTx/>
              <a:buFont typeface="Wingdings" panose="05000000000000000000" pitchFamily="2" charset="2"/>
              <a:buChar char="§"/>
              <a:defRPr sz="1200" b="0" i="0">
                <a:solidFill>
                  <a:schemeClr val="tx1"/>
                </a:solidFill>
                <a:latin typeface="Aptos" panose="020B0004020202020204" pitchFamily="34" charset="0"/>
              </a:defRPr>
            </a:lvl3pPr>
            <a:lvl4pPr marL="361950" indent="-180975">
              <a:buClrTx/>
              <a:buFont typeface="Wingdings" panose="05000000000000000000" pitchFamily="2" charset="2"/>
              <a:buChar char="§"/>
              <a:defRPr sz="1200" b="0" i="0">
                <a:solidFill>
                  <a:schemeClr val="tx1"/>
                </a:solidFill>
                <a:latin typeface="Aptos" panose="020B0004020202020204" pitchFamily="34" charset="0"/>
              </a:defRPr>
            </a:lvl4pPr>
            <a:lvl5pPr marL="542925" indent="-180975">
              <a:buClrTx/>
              <a:buFont typeface="Wingdings" panose="05000000000000000000" pitchFamily="2" charset="2"/>
              <a:buChar char="§"/>
              <a:defRPr sz="1200" b="0" i="0">
                <a:solidFill>
                  <a:schemeClr val="tx1"/>
                </a:solidFill>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itle Placeholder 1">
            <a:extLst>
              <a:ext uri="{FF2B5EF4-FFF2-40B4-BE49-F238E27FC236}">
                <a16:creationId xmlns:a16="http://schemas.microsoft.com/office/drawing/2014/main" id="{6D7443DB-B06E-4E5F-A4BC-D9AA9DF68064}"/>
              </a:ext>
            </a:extLst>
          </p:cNvPr>
          <p:cNvSpPr>
            <a:spLocks noGrp="1"/>
          </p:cNvSpPr>
          <p:nvPr>
            <p:ph type="title" hasCustomPrompt="1"/>
          </p:nvPr>
        </p:nvSpPr>
        <p:spPr>
          <a:xfrm>
            <a:off x="542647" y="365126"/>
            <a:ext cx="11098999" cy="332399"/>
          </a:xfrm>
          <a:prstGeom prst="rect">
            <a:avLst/>
          </a:prstGeom>
        </p:spPr>
        <p:txBody>
          <a:bodyPr vert="horz" lIns="0" tIns="0" rIns="0" bIns="0" rtlCol="0" anchor="t" anchorCtr="0">
            <a:spAutoFit/>
          </a:bodyPr>
          <a:lstStyle>
            <a:lvl1pPr>
              <a:lnSpc>
                <a:spcPct val="90000"/>
              </a:lnSpc>
              <a:defRPr cap="all" baseline="0">
                <a:solidFill>
                  <a:schemeClr val="tx2"/>
                </a:solidFill>
              </a:defRPr>
            </a:lvl1pPr>
          </a:lstStyle>
          <a:p>
            <a:r>
              <a:rPr lang="en-US"/>
              <a:t>CLICK TO EDIT MASTER TITLE STYLE</a:t>
            </a:r>
            <a:endParaRPr lang="en-GB"/>
          </a:p>
        </p:txBody>
      </p:sp>
      <p:sp>
        <p:nvSpPr>
          <p:cNvPr id="10" name="Text Placeholder 7">
            <a:extLst>
              <a:ext uri="{FF2B5EF4-FFF2-40B4-BE49-F238E27FC236}">
                <a16:creationId xmlns:a16="http://schemas.microsoft.com/office/drawing/2014/main" id="{DE602716-57DF-48F3-AE26-B41D3C0A77A0}"/>
              </a:ext>
            </a:extLst>
          </p:cNvPr>
          <p:cNvSpPr>
            <a:spLocks noGrp="1"/>
          </p:cNvSpPr>
          <p:nvPr>
            <p:ph type="body" sz="quarter" idx="10" hasCustomPrompt="1"/>
          </p:nvPr>
        </p:nvSpPr>
        <p:spPr>
          <a:xfrm>
            <a:off x="542647" y="814367"/>
            <a:ext cx="11098999" cy="249299"/>
          </a:xfrm>
        </p:spPr>
        <p:txBody>
          <a:bodyPr wrap="square">
            <a:spAutoFit/>
          </a:bodyPr>
          <a:lstStyle>
            <a:lvl1pPr>
              <a:lnSpc>
                <a:spcPct val="90000"/>
              </a:lnSpc>
              <a:spcBef>
                <a:spcPts val="0"/>
              </a:spcBef>
              <a:defRPr sz="1800" b="1" i="0">
                <a:solidFill>
                  <a:schemeClr val="bg2">
                    <a:lumMod val="50000"/>
                  </a:schemeClr>
                </a:solidFill>
                <a:latin typeface="Century Gothic" panose="020B0502020202020204" pitchFamily="34" charset="0"/>
              </a:defRPr>
            </a:lvl1pPr>
          </a:lstStyle>
          <a:p>
            <a:pPr lvl="0"/>
            <a:r>
              <a:rPr lang="en-US"/>
              <a:t>Subtitle goes here</a:t>
            </a:r>
          </a:p>
        </p:txBody>
      </p:sp>
      <p:sp>
        <p:nvSpPr>
          <p:cNvPr id="11" name="TextBox 10">
            <a:extLst>
              <a:ext uri="{FF2B5EF4-FFF2-40B4-BE49-F238E27FC236}">
                <a16:creationId xmlns:a16="http://schemas.microsoft.com/office/drawing/2014/main" id="{5CE49E90-5CFA-4F45-AB72-151510CE825F}"/>
              </a:ext>
            </a:extLst>
          </p:cNvPr>
          <p:cNvSpPr txBox="1"/>
          <p:nvPr userDrawn="1"/>
        </p:nvSpPr>
        <p:spPr>
          <a:xfrm>
            <a:off x="11372849" y="6423669"/>
            <a:ext cx="298722" cy="269383"/>
          </a:xfrm>
          <a:prstGeom prst="rect">
            <a:avLst/>
          </a:prstGeom>
          <a:noFill/>
        </p:spPr>
        <p:txBody>
          <a:bodyPr wrap="square" lIns="0" tIns="0" rIns="0" bIns="0" rtlCol="0" anchor="ctr" anchorCtr="0">
            <a:noAutofit/>
          </a:bodyPr>
          <a:lstStyle/>
          <a:p>
            <a:pPr marL="0" marR="0" lvl="0" indent="0" algn="r" defTabSz="1088340" rtl="0" eaLnBrk="1" fontAlgn="auto" latinLnBrk="0" hangingPunct="1">
              <a:lnSpc>
                <a:spcPct val="100000"/>
              </a:lnSpc>
              <a:spcBef>
                <a:spcPts val="0"/>
              </a:spcBef>
              <a:spcAft>
                <a:spcPts val="0"/>
              </a:spcAft>
              <a:buClrTx/>
              <a:buSzTx/>
              <a:buFontTx/>
              <a:buNone/>
              <a:tabLst/>
              <a:defRPr/>
            </a:pPr>
            <a:fld id="{3BB745A9-307D-7A4A-B43D-4F1813E0F239}" type="slidenum">
              <a:rPr kumimoji="0" lang="en-US" sz="800" b="0" i="0" u="none" strike="noStrike" kern="1200" cap="none" spc="0" normalizeH="0" baseline="0" noProof="0" smtClean="0">
                <a:ln>
                  <a:noFill/>
                </a:ln>
                <a:solidFill>
                  <a:schemeClr val="bg2">
                    <a:lumMod val="75000"/>
                  </a:schemeClr>
                </a:solidFill>
                <a:effectLst/>
                <a:uLnTx/>
                <a:uFillTx/>
                <a:latin typeface="Calibri" panose="020F0502020204030204" pitchFamily="34" charset="0"/>
                <a:cs typeface="Calibri" panose="020F0502020204030204" pitchFamily="34" charset="0"/>
              </a:rPr>
              <a:pPr marL="0" marR="0" lvl="0" indent="0" algn="r" defTabSz="108834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chemeClr val="bg2">
                  <a:lumMod val="75000"/>
                </a:schemeClr>
              </a:solidFill>
              <a:effectLst/>
              <a:uLnTx/>
              <a:uFillTx/>
              <a:latin typeface="Calibri" panose="020F0502020204030204" pitchFamily="34" charset="0"/>
              <a:cs typeface="Calibri" panose="020F0502020204030204" pitchFamily="34" charset="0"/>
            </a:endParaRPr>
          </a:p>
        </p:txBody>
      </p:sp>
      <p:sp>
        <p:nvSpPr>
          <p:cNvPr id="12" name="Footer Placeholder 3">
            <a:extLst>
              <a:ext uri="{FF2B5EF4-FFF2-40B4-BE49-F238E27FC236}">
                <a16:creationId xmlns:a16="http://schemas.microsoft.com/office/drawing/2014/main" id="{4C84E3C7-E516-4BA9-AC4F-6BF1E5CE6C44}"/>
              </a:ext>
            </a:extLst>
          </p:cNvPr>
          <p:cNvSpPr>
            <a:spLocks noGrp="1"/>
          </p:cNvSpPr>
          <p:nvPr>
            <p:ph type="ftr" sz="quarter" idx="3"/>
          </p:nvPr>
        </p:nvSpPr>
        <p:spPr>
          <a:xfrm>
            <a:off x="3895724" y="6463172"/>
            <a:ext cx="7477125" cy="297962"/>
          </a:xfrm>
          <a:prstGeom prst="rect">
            <a:avLst/>
          </a:prstGeom>
          <a:noFill/>
        </p:spPr>
        <p:txBody>
          <a:bodyPr vert="horz" lIns="45720" tIns="36000" rIns="91440" bIns="45720" rtlCol="0" anchor="t" anchorCtr="0">
            <a:spAutoFit/>
          </a:bodyPr>
          <a:lstStyle>
            <a:lvl1pPr>
              <a:defRPr lang="en-US" sz="700" smtClean="0">
                <a:solidFill>
                  <a:schemeClr val="bg1">
                    <a:lumMod val="75000"/>
                  </a:schemeClr>
                </a:solidFill>
              </a:defRPr>
            </a:lvl1pPr>
          </a:lstStyle>
          <a:p>
            <a:r>
              <a:rPr lang="en-US"/>
              <a:t>To edit the footer text go to Insert &gt; Header &amp; Footer</a:t>
            </a:r>
          </a:p>
          <a:p>
            <a:r>
              <a:rPr lang="en-US"/>
              <a:t>Footer can span to two lines </a:t>
            </a:r>
          </a:p>
        </p:txBody>
      </p:sp>
    </p:spTree>
    <p:extLst>
      <p:ext uri="{BB962C8B-B14F-4D97-AF65-F5344CB8AC3E}">
        <p14:creationId xmlns:p14="http://schemas.microsoft.com/office/powerpoint/2010/main" val="2126450382"/>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6D7443DB-B06E-4E5F-A4BC-D9AA9DF68064}"/>
              </a:ext>
            </a:extLst>
          </p:cNvPr>
          <p:cNvSpPr>
            <a:spLocks noGrp="1"/>
          </p:cNvSpPr>
          <p:nvPr>
            <p:ph type="title" hasCustomPrompt="1"/>
          </p:nvPr>
        </p:nvSpPr>
        <p:spPr>
          <a:xfrm>
            <a:off x="542647" y="365126"/>
            <a:ext cx="11098999" cy="332399"/>
          </a:xfrm>
          <a:prstGeom prst="rect">
            <a:avLst/>
          </a:prstGeom>
        </p:spPr>
        <p:txBody>
          <a:bodyPr vert="horz" lIns="0" tIns="0" rIns="0" bIns="0" rtlCol="0" anchor="t" anchorCtr="0">
            <a:spAutoFit/>
          </a:bodyPr>
          <a:lstStyle>
            <a:lvl1pPr>
              <a:lnSpc>
                <a:spcPct val="90000"/>
              </a:lnSpc>
              <a:defRPr cap="all" baseline="0">
                <a:solidFill>
                  <a:schemeClr val="tx2"/>
                </a:solidFill>
              </a:defRPr>
            </a:lvl1pPr>
          </a:lstStyle>
          <a:p>
            <a:r>
              <a:rPr lang="en-US"/>
              <a:t>CLICK TO EDIT MASTER TITLE STYLE</a:t>
            </a:r>
            <a:endParaRPr lang="en-GB"/>
          </a:p>
        </p:txBody>
      </p:sp>
      <p:sp>
        <p:nvSpPr>
          <p:cNvPr id="10" name="Text Placeholder 7">
            <a:extLst>
              <a:ext uri="{FF2B5EF4-FFF2-40B4-BE49-F238E27FC236}">
                <a16:creationId xmlns:a16="http://schemas.microsoft.com/office/drawing/2014/main" id="{DE602716-57DF-48F3-AE26-B41D3C0A77A0}"/>
              </a:ext>
            </a:extLst>
          </p:cNvPr>
          <p:cNvSpPr>
            <a:spLocks noGrp="1"/>
          </p:cNvSpPr>
          <p:nvPr>
            <p:ph type="body" sz="quarter" idx="10" hasCustomPrompt="1"/>
          </p:nvPr>
        </p:nvSpPr>
        <p:spPr>
          <a:xfrm>
            <a:off x="542647" y="814367"/>
            <a:ext cx="11098999" cy="249299"/>
          </a:xfrm>
        </p:spPr>
        <p:txBody>
          <a:bodyPr wrap="square">
            <a:spAutoFit/>
          </a:bodyPr>
          <a:lstStyle>
            <a:lvl1pPr>
              <a:lnSpc>
                <a:spcPct val="90000"/>
              </a:lnSpc>
              <a:spcBef>
                <a:spcPts val="0"/>
              </a:spcBef>
              <a:defRPr sz="1800" b="1" i="0">
                <a:solidFill>
                  <a:schemeClr val="bg2">
                    <a:lumMod val="50000"/>
                  </a:schemeClr>
                </a:solidFill>
                <a:latin typeface="Century Gothic" panose="020B0502020202020204" pitchFamily="34" charset="0"/>
              </a:defRPr>
            </a:lvl1pPr>
          </a:lstStyle>
          <a:p>
            <a:pPr lvl="0"/>
            <a:r>
              <a:rPr lang="en-US"/>
              <a:t>Subtitle goes here</a:t>
            </a:r>
          </a:p>
        </p:txBody>
      </p:sp>
      <p:sp>
        <p:nvSpPr>
          <p:cNvPr id="11" name="TextBox 10">
            <a:extLst>
              <a:ext uri="{FF2B5EF4-FFF2-40B4-BE49-F238E27FC236}">
                <a16:creationId xmlns:a16="http://schemas.microsoft.com/office/drawing/2014/main" id="{5CE49E90-5CFA-4F45-AB72-151510CE825F}"/>
              </a:ext>
            </a:extLst>
          </p:cNvPr>
          <p:cNvSpPr txBox="1"/>
          <p:nvPr userDrawn="1"/>
        </p:nvSpPr>
        <p:spPr>
          <a:xfrm>
            <a:off x="11372849" y="6423669"/>
            <a:ext cx="298722" cy="269383"/>
          </a:xfrm>
          <a:prstGeom prst="rect">
            <a:avLst/>
          </a:prstGeom>
          <a:noFill/>
        </p:spPr>
        <p:txBody>
          <a:bodyPr wrap="square" lIns="0" tIns="0" rIns="0" bIns="0" rtlCol="0" anchor="ctr" anchorCtr="0">
            <a:noAutofit/>
          </a:bodyPr>
          <a:lstStyle/>
          <a:p>
            <a:pPr marL="0" marR="0" lvl="0" indent="0" algn="r" defTabSz="1088340" rtl="0" eaLnBrk="1" fontAlgn="auto" latinLnBrk="0" hangingPunct="1">
              <a:lnSpc>
                <a:spcPct val="100000"/>
              </a:lnSpc>
              <a:spcBef>
                <a:spcPts val="0"/>
              </a:spcBef>
              <a:spcAft>
                <a:spcPts val="0"/>
              </a:spcAft>
              <a:buClrTx/>
              <a:buSzTx/>
              <a:buFontTx/>
              <a:buNone/>
              <a:tabLst/>
              <a:defRPr/>
            </a:pPr>
            <a:fld id="{3BB745A9-307D-7A4A-B43D-4F1813E0F239}" type="slidenum">
              <a:rPr kumimoji="0" lang="en-US" sz="800" b="0" i="0" u="none" strike="noStrike" kern="1200" cap="none" spc="0" normalizeH="0" baseline="0" noProof="0" smtClean="0">
                <a:ln>
                  <a:noFill/>
                </a:ln>
                <a:solidFill>
                  <a:schemeClr val="bg2">
                    <a:lumMod val="75000"/>
                  </a:schemeClr>
                </a:solidFill>
                <a:effectLst/>
                <a:uLnTx/>
                <a:uFillTx/>
                <a:latin typeface="Calibri" panose="020F0502020204030204" pitchFamily="34" charset="0"/>
                <a:cs typeface="Calibri" panose="020F0502020204030204" pitchFamily="34" charset="0"/>
              </a:rPr>
              <a:pPr marL="0" marR="0" lvl="0" indent="0" algn="r" defTabSz="108834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chemeClr val="bg2">
                  <a:lumMod val="75000"/>
                </a:schemeClr>
              </a:solidFill>
              <a:effectLst/>
              <a:uLnTx/>
              <a:uFillTx/>
              <a:latin typeface="Calibri" panose="020F0502020204030204" pitchFamily="34" charset="0"/>
              <a:cs typeface="Calibri" panose="020F0502020204030204" pitchFamily="34" charset="0"/>
            </a:endParaRPr>
          </a:p>
        </p:txBody>
      </p:sp>
      <p:sp>
        <p:nvSpPr>
          <p:cNvPr id="12" name="Footer Placeholder 3">
            <a:extLst>
              <a:ext uri="{FF2B5EF4-FFF2-40B4-BE49-F238E27FC236}">
                <a16:creationId xmlns:a16="http://schemas.microsoft.com/office/drawing/2014/main" id="{4C84E3C7-E516-4BA9-AC4F-6BF1E5CE6C44}"/>
              </a:ext>
            </a:extLst>
          </p:cNvPr>
          <p:cNvSpPr>
            <a:spLocks noGrp="1"/>
          </p:cNvSpPr>
          <p:nvPr>
            <p:ph type="ftr" sz="quarter" idx="3"/>
          </p:nvPr>
        </p:nvSpPr>
        <p:spPr>
          <a:xfrm>
            <a:off x="3895724" y="6463172"/>
            <a:ext cx="7477125" cy="297962"/>
          </a:xfrm>
          <a:prstGeom prst="rect">
            <a:avLst/>
          </a:prstGeom>
          <a:noFill/>
        </p:spPr>
        <p:txBody>
          <a:bodyPr vert="horz" lIns="45720" tIns="36000" rIns="91440" bIns="45720" rtlCol="0" anchor="t" anchorCtr="0">
            <a:spAutoFit/>
          </a:bodyPr>
          <a:lstStyle>
            <a:lvl1pPr>
              <a:defRPr lang="en-US" sz="700" smtClean="0">
                <a:solidFill>
                  <a:schemeClr val="bg1">
                    <a:lumMod val="75000"/>
                  </a:schemeClr>
                </a:solidFill>
              </a:defRPr>
            </a:lvl1pPr>
          </a:lstStyle>
          <a:p>
            <a:r>
              <a:rPr lang="en-US"/>
              <a:t>To edit the footer text go to Insert &gt; Header &amp; Footer</a:t>
            </a:r>
          </a:p>
          <a:p>
            <a:r>
              <a:rPr lang="en-US"/>
              <a:t>Footer can span to two lines </a:t>
            </a:r>
          </a:p>
        </p:txBody>
      </p:sp>
    </p:spTree>
    <p:extLst>
      <p:ext uri="{BB962C8B-B14F-4D97-AF65-F5344CB8AC3E}">
        <p14:creationId xmlns:p14="http://schemas.microsoft.com/office/powerpoint/2010/main" val="67728396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Banner">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5CE49E90-5CFA-4F45-AB72-151510CE825F}"/>
              </a:ext>
            </a:extLst>
          </p:cNvPr>
          <p:cNvSpPr txBox="1"/>
          <p:nvPr userDrawn="1"/>
        </p:nvSpPr>
        <p:spPr>
          <a:xfrm>
            <a:off x="11372849" y="6423669"/>
            <a:ext cx="298722" cy="269383"/>
          </a:xfrm>
          <a:prstGeom prst="rect">
            <a:avLst/>
          </a:prstGeom>
          <a:noFill/>
        </p:spPr>
        <p:txBody>
          <a:bodyPr wrap="square" lIns="0" tIns="0" rIns="0" bIns="0" rtlCol="0" anchor="ctr" anchorCtr="0">
            <a:noAutofit/>
          </a:bodyPr>
          <a:lstStyle/>
          <a:p>
            <a:pPr marL="0" marR="0" lvl="0" indent="0" algn="r" defTabSz="1088340" rtl="0" eaLnBrk="1" fontAlgn="auto" latinLnBrk="0" hangingPunct="1">
              <a:lnSpc>
                <a:spcPct val="100000"/>
              </a:lnSpc>
              <a:spcBef>
                <a:spcPts val="0"/>
              </a:spcBef>
              <a:spcAft>
                <a:spcPts val="0"/>
              </a:spcAft>
              <a:buClrTx/>
              <a:buSzTx/>
              <a:buFontTx/>
              <a:buNone/>
              <a:tabLst/>
              <a:defRPr/>
            </a:pPr>
            <a:fld id="{3BB745A9-307D-7A4A-B43D-4F1813E0F239}" type="slidenum">
              <a:rPr kumimoji="0" lang="en-US" sz="800" b="0" i="0" u="none" strike="noStrike" kern="1200" cap="none" spc="0" normalizeH="0" baseline="0" noProof="0" smtClean="0">
                <a:ln>
                  <a:noFill/>
                </a:ln>
                <a:solidFill>
                  <a:schemeClr val="bg2">
                    <a:lumMod val="75000"/>
                  </a:schemeClr>
                </a:solidFill>
                <a:effectLst/>
                <a:uLnTx/>
                <a:uFillTx/>
                <a:latin typeface="Calibri" panose="020F0502020204030204" pitchFamily="34" charset="0"/>
                <a:cs typeface="Calibri" panose="020F0502020204030204" pitchFamily="34" charset="0"/>
              </a:rPr>
              <a:pPr marL="0" marR="0" lvl="0" indent="0" algn="r" defTabSz="108834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chemeClr val="bg2">
                  <a:lumMod val="75000"/>
                </a:schemeClr>
              </a:solidFill>
              <a:effectLst/>
              <a:uLnTx/>
              <a:uFillTx/>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A7302315-6827-40B3-A30B-0796A3D2E04B}"/>
              </a:ext>
            </a:extLst>
          </p:cNvPr>
          <p:cNvSpPr txBox="1"/>
          <p:nvPr userDrawn="1"/>
        </p:nvSpPr>
        <p:spPr>
          <a:xfrm>
            <a:off x="550863" y="6486685"/>
            <a:ext cx="3254096"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lumMod val="75000"/>
                  </a:schemeClr>
                </a:solidFill>
                <a:effectLst/>
                <a:uLnTx/>
                <a:uFillTx/>
                <a:latin typeface="Calibri" panose="020F0502020204030204" pitchFamily="34" charset="0"/>
                <a:cs typeface="Calibri" panose="020F0502020204030204" pitchFamily="34" charset="0"/>
              </a:rPr>
              <a:t>© 2024 The Capital Markets Company. Capco Confidential. All rights reserved.</a:t>
            </a:r>
          </a:p>
        </p:txBody>
      </p:sp>
      <p:sp>
        <p:nvSpPr>
          <p:cNvPr id="9" name="Title Placeholder 1">
            <a:extLst>
              <a:ext uri="{FF2B5EF4-FFF2-40B4-BE49-F238E27FC236}">
                <a16:creationId xmlns:a16="http://schemas.microsoft.com/office/drawing/2014/main" id="{6D7443DB-B06E-4E5F-A4BC-D9AA9DF68064}"/>
              </a:ext>
            </a:extLst>
          </p:cNvPr>
          <p:cNvSpPr>
            <a:spLocks noGrp="1"/>
          </p:cNvSpPr>
          <p:nvPr>
            <p:ph type="title" hasCustomPrompt="1"/>
          </p:nvPr>
        </p:nvSpPr>
        <p:spPr>
          <a:xfrm>
            <a:off x="542647" y="365126"/>
            <a:ext cx="11098999" cy="332399"/>
          </a:xfrm>
          <a:prstGeom prst="rect">
            <a:avLst/>
          </a:prstGeom>
        </p:spPr>
        <p:txBody>
          <a:bodyPr vert="horz" lIns="0" tIns="0" rIns="0" bIns="0" rtlCol="0" anchor="t" anchorCtr="0">
            <a:spAutoFit/>
          </a:bodyPr>
          <a:lstStyle>
            <a:lvl1pPr>
              <a:lnSpc>
                <a:spcPct val="90000"/>
              </a:lnSpc>
              <a:defRPr cap="all" baseline="0">
                <a:solidFill>
                  <a:schemeClr val="tx2"/>
                </a:solidFill>
              </a:defRPr>
            </a:lvl1pPr>
          </a:lstStyle>
          <a:p>
            <a:r>
              <a:rPr lang="en-US"/>
              <a:t>CLICK TO EDIT MASTER TITLE STYLE</a:t>
            </a:r>
            <a:endParaRPr lang="en-GB"/>
          </a:p>
        </p:txBody>
      </p:sp>
      <p:grpSp>
        <p:nvGrpSpPr>
          <p:cNvPr id="5" name="Group 4">
            <a:extLst>
              <a:ext uri="{FF2B5EF4-FFF2-40B4-BE49-F238E27FC236}">
                <a16:creationId xmlns:a16="http://schemas.microsoft.com/office/drawing/2014/main" id="{2AEA92D6-81C9-40B3-361C-23ADF6E6B9B2}"/>
              </a:ext>
            </a:extLst>
          </p:cNvPr>
          <p:cNvGrpSpPr/>
          <p:nvPr userDrawn="1"/>
        </p:nvGrpSpPr>
        <p:grpSpPr>
          <a:xfrm>
            <a:off x="-3854" y="5962600"/>
            <a:ext cx="12192000" cy="895400"/>
            <a:chOff x="-3854" y="5962600"/>
            <a:chExt cx="12192000" cy="895400"/>
          </a:xfrm>
        </p:grpSpPr>
        <p:sp>
          <p:nvSpPr>
            <p:cNvPr id="2" name="Rectangle 1">
              <a:extLst>
                <a:ext uri="{FF2B5EF4-FFF2-40B4-BE49-F238E27FC236}">
                  <a16:creationId xmlns:a16="http://schemas.microsoft.com/office/drawing/2014/main" id="{69591FBF-1EDF-E87E-332C-2470F86EE81B}"/>
                </a:ext>
              </a:extLst>
            </p:cNvPr>
            <p:cNvSpPr/>
            <p:nvPr userDrawn="1"/>
          </p:nvSpPr>
          <p:spPr>
            <a:xfrm>
              <a:off x="-3854" y="5962600"/>
              <a:ext cx="12192000" cy="895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mn-lt"/>
                <a:ea typeface="+mn-ea"/>
                <a:cs typeface="+mn-cs"/>
              </a:endParaRPr>
            </a:p>
          </p:txBody>
        </p:sp>
        <p:sp>
          <p:nvSpPr>
            <p:cNvPr id="4" name="TextBox 3">
              <a:extLst>
                <a:ext uri="{FF2B5EF4-FFF2-40B4-BE49-F238E27FC236}">
                  <a16:creationId xmlns:a16="http://schemas.microsoft.com/office/drawing/2014/main" id="{9DFA6E68-F603-7636-0735-C994AC4B1DB3}"/>
                </a:ext>
              </a:extLst>
            </p:cNvPr>
            <p:cNvSpPr txBox="1"/>
            <p:nvPr userDrawn="1"/>
          </p:nvSpPr>
          <p:spPr>
            <a:xfrm>
              <a:off x="542901" y="6225634"/>
              <a:ext cx="11098490" cy="369332"/>
            </a:xfrm>
            <a:prstGeom prst="rect">
              <a:avLst/>
            </a:prstGeom>
            <a:noFill/>
          </p:spPr>
          <p:txBody>
            <a:bodyPr wrap="square" rtlCol="0">
              <a:spAutoFit/>
            </a:bodyPr>
            <a:lstStyle/>
            <a:p>
              <a:pPr algn="ctr"/>
              <a:endParaRPr lang="en-US" sz="1800">
                <a:solidFill>
                  <a:schemeClr val="bg1"/>
                </a:solidFill>
              </a:endParaRPr>
            </a:p>
          </p:txBody>
        </p:sp>
      </p:grpSp>
    </p:spTree>
    <p:extLst>
      <p:ext uri="{BB962C8B-B14F-4D97-AF65-F5344CB8AC3E}">
        <p14:creationId xmlns:p14="http://schemas.microsoft.com/office/powerpoint/2010/main" val="2034500808"/>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2_Title 1">
    <p:bg>
      <p:bgPr>
        <a:solidFill>
          <a:schemeClr val="tx1"/>
        </a:solidFill>
        <a:effectLst/>
      </p:bgPr>
    </p:bg>
    <p:spTree>
      <p:nvGrpSpPr>
        <p:cNvPr id="1" name=""/>
        <p:cNvGrpSpPr/>
        <p:nvPr/>
      </p:nvGrpSpPr>
      <p:grpSpPr>
        <a:xfrm>
          <a:off x="0" y="0"/>
          <a:ext cx="0" cy="0"/>
          <a:chOff x="0" y="0"/>
          <a:chExt cx="0" cy="0"/>
        </a:xfrm>
      </p:grpSpPr>
      <p:pic>
        <p:nvPicPr>
          <p:cNvPr id="6" name="Picture 5" descr="A picture containing outdoor, light, night sky&#10;&#10;Description automatically generated">
            <a:extLst>
              <a:ext uri="{FF2B5EF4-FFF2-40B4-BE49-F238E27FC236}">
                <a16:creationId xmlns:a16="http://schemas.microsoft.com/office/drawing/2014/main" id="{310BD559-64A4-3F6E-9358-52E7A39DAE37}"/>
              </a:ext>
            </a:extLst>
          </p:cNvPr>
          <p:cNvPicPr>
            <a:picLocks noChangeAspect="1"/>
          </p:cNvPicPr>
          <p:nvPr userDrawn="1"/>
        </p:nvPicPr>
        <p:blipFill>
          <a:blip r:embed="rId2">
            <a:alphaModFix amt="71000"/>
            <a:extLst>
              <a:ext uri="{28A0092B-C50C-407E-A947-70E740481C1C}">
                <a14:useLocalDpi xmlns:a14="http://schemas.microsoft.com/office/drawing/2010/main" val="0"/>
              </a:ext>
            </a:extLst>
          </a:blip>
          <a:stretch>
            <a:fillRect/>
          </a:stretch>
        </p:blipFill>
        <p:spPr>
          <a:xfrm>
            <a:off x="0" y="660"/>
            <a:ext cx="12192000" cy="6856679"/>
          </a:xfrm>
          <a:prstGeom prst="rect">
            <a:avLst/>
          </a:prstGeom>
        </p:spPr>
      </p:pic>
      <p:sp>
        <p:nvSpPr>
          <p:cNvPr id="3" name="Text Placeholder 2">
            <a:extLst>
              <a:ext uri="{FF2B5EF4-FFF2-40B4-BE49-F238E27FC236}">
                <a16:creationId xmlns:a16="http://schemas.microsoft.com/office/drawing/2014/main" id="{97019D08-9373-EC47-B920-8FE5EF9F8665}"/>
              </a:ext>
            </a:extLst>
          </p:cNvPr>
          <p:cNvSpPr>
            <a:spLocks noGrp="1"/>
          </p:cNvSpPr>
          <p:nvPr>
            <p:ph type="body" sz="quarter" idx="14" hasCustomPrompt="1"/>
          </p:nvPr>
        </p:nvSpPr>
        <p:spPr>
          <a:xfrm>
            <a:off x="8341270" y="4853254"/>
            <a:ext cx="2765182" cy="226989"/>
          </a:xfrm>
        </p:spPr>
        <p:txBody>
          <a:bodyPr>
            <a:normAutofit/>
          </a:bodyPr>
          <a:lstStyle>
            <a:lvl1pPr>
              <a:defRPr sz="1050" b="0" i="0">
                <a:solidFill>
                  <a:schemeClr val="bg2">
                    <a:lumMod val="75000"/>
                  </a:schemeClr>
                </a:solidFill>
                <a:latin typeface="Calibri" panose="020F0502020204030204" pitchFamily="34" charset="0"/>
              </a:defRPr>
            </a:lvl1pPr>
          </a:lstStyle>
          <a:p>
            <a:pPr lvl="0"/>
            <a:r>
              <a:rPr lang="en-US"/>
              <a:t>Location</a:t>
            </a:r>
          </a:p>
        </p:txBody>
      </p:sp>
      <p:sp>
        <p:nvSpPr>
          <p:cNvPr id="5" name="Text Placeholder 4">
            <a:extLst>
              <a:ext uri="{FF2B5EF4-FFF2-40B4-BE49-F238E27FC236}">
                <a16:creationId xmlns:a16="http://schemas.microsoft.com/office/drawing/2014/main" id="{09FA1A14-8C57-C547-B2E7-25836164BF46}"/>
              </a:ext>
            </a:extLst>
          </p:cNvPr>
          <p:cNvSpPr>
            <a:spLocks noGrp="1"/>
          </p:cNvSpPr>
          <p:nvPr>
            <p:ph type="body" sz="quarter" idx="15" hasCustomPrompt="1"/>
          </p:nvPr>
        </p:nvSpPr>
        <p:spPr>
          <a:xfrm>
            <a:off x="8341270" y="5144858"/>
            <a:ext cx="2767691" cy="226989"/>
          </a:xfrm>
        </p:spPr>
        <p:txBody>
          <a:bodyPr>
            <a:normAutofit/>
          </a:bodyPr>
          <a:lstStyle>
            <a:lvl1pPr>
              <a:defRPr sz="1050" b="0" i="0">
                <a:solidFill>
                  <a:schemeClr val="bg2">
                    <a:lumMod val="75000"/>
                  </a:schemeClr>
                </a:solidFill>
                <a:latin typeface="Calibri" panose="020F0502020204030204" pitchFamily="34" charset="0"/>
              </a:defRPr>
            </a:lvl1pPr>
          </a:lstStyle>
          <a:p>
            <a:pPr lvl="0"/>
            <a:r>
              <a:rPr lang="en-US"/>
              <a:t>Date</a:t>
            </a:r>
          </a:p>
        </p:txBody>
      </p:sp>
      <p:sp>
        <p:nvSpPr>
          <p:cNvPr id="10" name="Text Placeholder 9">
            <a:extLst>
              <a:ext uri="{FF2B5EF4-FFF2-40B4-BE49-F238E27FC236}">
                <a16:creationId xmlns:a16="http://schemas.microsoft.com/office/drawing/2014/main" id="{2FFDB0C6-EF22-FE4A-B905-24FE19A1DAE9}"/>
              </a:ext>
            </a:extLst>
          </p:cNvPr>
          <p:cNvSpPr>
            <a:spLocks noGrp="1"/>
          </p:cNvSpPr>
          <p:nvPr>
            <p:ph type="body" sz="quarter" idx="16" hasCustomPrompt="1"/>
          </p:nvPr>
        </p:nvSpPr>
        <p:spPr>
          <a:xfrm>
            <a:off x="8341270" y="5436112"/>
            <a:ext cx="2765182" cy="266460"/>
          </a:xfrm>
        </p:spPr>
        <p:txBody>
          <a:bodyPr>
            <a:normAutofit/>
          </a:bodyPr>
          <a:lstStyle>
            <a:lvl1pPr>
              <a:defRPr sz="1050" b="0" i="0">
                <a:solidFill>
                  <a:schemeClr val="bg2">
                    <a:lumMod val="75000"/>
                  </a:schemeClr>
                </a:solidFill>
                <a:latin typeface="Calibri" panose="020F0502020204030204" pitchFamily="34" charset="0"/>
              </a:defRPr>
            </a:lvl1pPr>
          </a:lstStyle>
          <a:p>
            <a:pPr lvl="0"/>
            <a:r>
              <a:rPr lang="en-US"/>
              <a:t>Author</a:t>
            </a:r>
          </a:p>
        </p:txBody>
      </p:sp>
      <p:sp>
        <p:nvSpPr>
          <p:cNvPr id="13" name="Title 1">
            <a:extLst>
              <a:ext uri="{FF2B5EF4-FFF2-40B4-BE49-F238E27FC236}">
                <a16:creationId xmlns:a16="http://schemas.microsoft.com/office/drawing/2014/main" id="{B8AB4D45-658E-6049-822F-6377ACE02F38}"/>
              </a:ext>
            </a:extLst>
          </p:cNvPr>
          <p:cNvSpPr>
            <a:spLocks noGrp="1"/>
          </p:cNvSpPr>
          <p:nvPr>
            <p:ph type="title" hasCustomPrompt="1"/>
          </p:nvPr>
        </p:nvSpPr>
        <p:spPr>
          <a:xfrm>
            <a:off x="1085548" y="4755595"/>
            <a:ext cx="6145913" cy="720197"/>
          </a:xfrm>
          <a:blipFill dpi="0" rotWithShape="1">
            <a:blip r:embed="rId3">
              <a:extLst>
                <a:ext uri="{28A0092B-C50C-407E-A947-70E740481C1C}">
                  <a14:useLocalDpi xmlns:a14="http://schemas.microsoft.com/office/drawing/2010/main" val="0"/>
                </a:ext>
              </a:extLst>
            </a:blip>
            <a:srcRect/>
            <a:stretch>
              <a:fillRect t="80000" b="16000"/>
            </a:stretch>
          </a:blipFill>
        </p:spPr>
        <p:txBody>
          <a:bodyPr vert="horz" wrap="none" lIns="0" tIns="0" rIns="0" bIns="274320" rtlCol="0" anchor="b">
            <a:spAutoFit/>
          </a:bodyPr>
          <a:lstStyle>
            <a:lvl1pPr>
              <a:defRPr lang="en-GB" sz="3200" u="none" dirty="0">
                <a:solidFill>
                  <a:schemeClr val="bg1"/>
                </a:solidFill>
                <a:uFill>
                  <a:solidFill>
                    <a:schemeClr val="accent1"/>
                  </a:solidFill>
                </a:uFill>
              </a:defRPr>
            </a:lvl1pPr>
          </a:lstStyle>
          <a:p>
            <a:pPr lvl="0"/>
            <a:r>
              <a:rPr lang="en-US"/>
              <a:t>Presentation title GOES here</a:t>
            </a:r>
            <a:endParaRPr lang="en-GB"/>
          </a:p>
        </p:txBody>
      </p:sp>
      <p:sp>
        <p:nvSpPr>
          <p:cNvPr id="15" name="Text Placeholder 3">
            <a:extLst>
              <a:ext uri="{FF2B5EF4-FFF2-40B4-BE49-F238E27FC236}">
                <a16:creationId xmlns:a16="http://schemas.microsoft.com/office/drawing/2014/main" id="{0F02F0D9-362D-7C41-9BC4-39FFDBB3132D}"/>
              </a:ext>
            </a:extLst>
          </p:cNvPr>
          <p:cNvSpPr>
            <a:spLocks noGrp="1"/>
          </p:cNvSpPr>
          <p:nvPr>
            <p:ph type="body" sz="quarter" idx="17" hasCustomPrompt="1"/>
          </p:nvPr>
        </p:nvSpPr>
        <p:spPr>
          <a:xfrm>
            <a:off x="1085548" y="5659295"/>
            <a:ext cx="6145912" cy="307777"/>
          </a:xfrm>
        </p:spPr>
        <p:txBody>
          <a:bodyPr vert="horz" wrap="square" lIns="0" tIns="0" rIns="0" bIns="0" rtlCol="0">
            <a:spAutoFit/>
          </a:bodyPr>
          <a:lstStyle>
            <a:lvl1pPr>
              <a:defRPr lang="en-US" sz="2000" cap="all" baseline="0" dirty="0">
                <a:solidFill>
                  <a:schemeClr val="bg1">
                    <a:lumMod val="75000"/>
                  </a:schemeClr>
                </a:solidFill>
                <a:latin typeface="Century Gothic" panose="020B0502020202020204" pitchFamily="34" charset="0"/>
              </a:defRPr>
            </a:lvl1pPr>
          </a:lstStyle>
          <a:p>
            <a:pPr lvl="0"/>
            <a:r>
              <a:rPr lang="en-US"/>
              <a:t>SUBTITLE HERE</a:t>
            </a:r>
          </a:p>
        </p:txBody>
      </p:sp>
      <p:sp>
        <p:nvSpPr>
          <p:cNvPr id="18" name="Picture Placeholder 23">
            <a:extLst>
              <a:ext uri="{FF2B5EF4-FFF2-40B4-BE49-F238E27FC236}">
                <a16:creationId xmlns:a16="http://schemas.microsoft.com/office/drawing/2014/main" id="{24C4BE84-8A7F-8E4E-8AEF-D1E6C1AD1575}"/>
              </a:ext>
            </a:extLst>
          </p:cNvPr>
          <p:cNvSpPr>
            <a:spLocks noGrp="1"/>
          </p:cNvSpPr>
          <p:nvPr>
            <p:ph type="pic" sz="quarter" idx="18" hasCustomPrompt="1"/>
          </p:nvPr>
        </p:nvSpPr>
        <p:spPr>
          <a:xfrm>
            <a:off x="8341270" y="5963755"/>
            <a:ext cx="1386000" cy="673200"/>
          </a:xfrm>
        </p:spPr>
        <p:txBody>
          <a:bodyPr anchor="ctr">
            <a:normAutofit/>
          </a:bodyPr>
          <a:lstStyle>
            <a:lvl1pPr algn="ctr">
              <a:defRPr sz="1400" b="0">
                <a:solidFill>
                  <a:schemeClr val="tx1"/>
                </a:solidFill>
              </a:defRPr>
            </a:lvl1pPr>
          </a:lstStyle>
          <a:p>
            <a:r>
              <a:rPr lang="en-GB"/>
              <a:t>Place client logo here if needed</a:t>
            </a:r>
          </a:p>
        </p:txBody>
      </p:sp>
      <p:pic>
        <p:nvPicPr>
          <p:cNvPr id="20" name="Graphic 19">
            <a:extLst>
              <a:ext uri="{FF2B5EF4-FFF2-40B4-BE49-F238E27FC236}">
                <a16:creationId xmlns:a16="http://schemas.microsoft.com/office/drawing/2014/main" id="{5EADD56E-007D-4B2B-82D1-DC0571B5D2E3}"/>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723861" y="3943382"/>
            <a:ext cx="1204913" cy="155425"/>
          </a:xfrm>
          <a:prstGeom prst="rect">
            <a:avLst/>
          </a:prstGeom>
        </p:spPr>
      </p:pic>
      <p:grpSp>
        <p:nvGrpSpPr>
          <p:cNvPr id="21" name="Group 20">
            <a:extLst>
              <a:ext uri="{FF2B5EF4-FFF2-40B4-BE49-F238E27FC236}">
                <a16:creationId xmlns:a16="http://schemas.microsoft.com/office/drawing/2014/main" id="{91556080-4CF4-29CF-ECD1-891B074BD687}"/>
              </a:ext>
            </a:extLst>
          </p:cNvPr>
          <p:cNvGrpSpPr/>
          <p:nvPr userDrawn="1"/>
        </p:nvGrpSpPr>
        <p:grpSpPr>
          <a:xfrm>
            <a:off x="1085548" y="350282"/>
            <a:ext cx="10020904" cy="3398903"/>
            <a:chOff x="1085548" y="350282"/>
            <a:chExt cx="10020904" cy="3398903"/>
          </a:xfrm>
          <a:solidFill>
            <a:schemeClr val="bg1">
              <a:alpha val="20000"/>
            </a:schemeClr>
          </a:solidFill>
        </p:grpSpPr>
        <p:sp>
          <p:nvSpPr>
            <p:cNvPr id="22" name="Freeform: Shape 21">
              <a:extLst>
                <a:ext uri="{FF2B5EF4-FFF2-40B4-BE49-F238E27FC236}">
                  <a16:creationId xmlns:a16="http://schemas.microsoft.com/office/drawing/2014/main" id="{E988F355-6229-74A7-9563-E1A5A3CF58B4}"/>
                </a:ext>
              </a:extLst>
            </p:cNvPr>
            <p:cNvSpPr/>
            <p:nvPr/>
          </p:nvSpPr>
          <p:spPr>
            <a:xfrm>
              <a:off x="5301360" y="379583"/>
              <a:ext cx="1582248" cy="3340301"/>
            </a:xfrm>
            <a:custGeom>
              <a:avLst/>
              <a:gdLst>
                <a:gd name="connsiteX0" fmla="*/ 948177 w 1582248"/>
                <a:gd name="connsiteY0" fmla="*/ 1509582 h 3340301"/>
                <a:gd name="connsiteX1" fmla="*/ 826871 w 1582248"/>
                <a:gd name="connsiteY1" fmla="*/ 1630888 h 3340301"/>
                <a:gd name="connsiteX2" fmla="*/ 680952 w 1582248"/>
                <a:gd name="connsiteY2" fmla="*/ 1630888 h 3340301"/>
                <a:gd name="connsiteX3" fmla="*/ 680952 w 1582248"/>
                <a:gd name="connsiteY3" fmla="*/ 580744 h 3340301"/>
                <a:gd name="connsiteX4" fmla="*/ 826871 w 1582248"/>
                <a:gd name="connsiteY4" fmla="*/ 580744 h 3340301"/>
                <a:gd name="connsiteX5" fmla="*/ 948177 w 1582248"/>
                <a:gd name="connsiteY5" fmla="*/ 701463 h 3340301"/>
                <a:gd name="connsiteX6" fmla="*/ 948177 w 1582248"/>
                <a:gd name="connsiteY6" fmla="*/ 1509582 h 3340301"/>
                <a:gd name="connsiteX7" fmla="*/ 1629129 w 1582248"/>
                <a:gd name="connsiteY7" fmla="*/ 1582248 h 3340301"/>
                <a:gd name="connsiteX8" fmla="*/ 1629129 w 1582248"/>
                <a:gd name="connsiteY8" fmla="*/ 628797 h 3340301"/>
                <a:gd name="connsiteX9" fmla="*/ 996816 w 1582248"/>
                <a:gd name="connsiteY9" fmla="*/ 0 h 3340301"/>
                <a:gd name="connsiteX10" fmla="*/ 0 w 1582248"/>
                <a:gd name="connsiteY10" fmla="*/ 0 h 3340301"/>
                <a:gd name="connsiteX11" fmla="*/ 0 w 1582248"/>
                <a:gd name="connsiteY11" fmla="*/ 3387769 h 3340301"/>
                <a:gd name="connsiteX12" fmla="*/ 680952 w 1582248"/>
                <a:gd name="connsiteY12" fmla="*/ 3387769 h 3340301"/>
                <a:gd name="connsiteX13" fmla="*/ 680952 w 1582248"/>
                <a:gd name="connsiteY13" fmla="*/ 2211631 h 3340301"/>
                <a:gd name="connsiteX14" fmla="*/ 996816 w 1582248"/>
                <a:gd name="connsiteY14" fmla="*/ 2211631 h 3340301"/>
                <a:gd name="connsiteX15" fmla="*/ 1629129 w 1582248"/>
                <a:gd name="connsiteY15" fmla="*/ 1582248 h 33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82248" h="3340301">
                  <a:moveTo>
                    <a:pt x="948177" y="1509582"/>
                  </a:moveTo>
                  <a:cubicBezTo>
                    <a:pt x="948177" y="1591624"/>
                    <a:pt x="908913" y="1630888"/>
                    <a:pt x="826871" y="1630888"/>
                  </a:cubicBezTo>
                  <a:lnTo>
                    <a:pt x="680952" y="1630888"/>
                  </a:lnTo>
                  <a:lnTo>
                    <a:pt x="680952" y="580744"/>
                  </a:lnTo>
                  <a:lnTo>
                    <a:pt x="826871" y="580744"/>
                  </a:lnTo>
                  <a:cubicBezTo>
                    <a:pt x="909499" y="580744"/>
                    <a:pt x="948177" y="619421"/>
                    <a:pt x="948177" y="701463"/>
                  </a:cubicBezTo>
                  <a:lnTo>
                    <a:pt x="948177" y="1509582"/>
                  </a:lnTo>
                  <a:close/>
                  <a:moveTo>
                    <a:pt x="1629129" y="1582248"/>
                  </a:moveTo>
                  <a:lnTo>
                    <a:pt x="1629129" y="628797"/>
                  </a:lnTo>
                  <a:cubicBezTo>
                    <a:pt x="1629129" y="207450"/>
                    <a:pt x="1419921" y="0"/>
                    <a:pt x="996816" y="0"/>
                  </a:cubicBezTo>
                  <a:lnTo>
                    <a:pt x="0" y="0"/>
                  </a:lnTo>
                  <a:lnTo>
                    <a:pt x="0" y="3387769"/>
                  </a:lnTo>
                  <a:lnTo>
                    <a:pt x="680952" y="3387769"/>
                  </a:lnTo>
                  <a:lnTo>
                    <a:pt x="680952" y="2211631"/>
                  </a:lnTo>
                  <a:lnTo>
                    <a:pt x="996816" y="2211631"/>
                  </a:lnTo>
                  <a:cubicBezTo>
                    <a:pt x="1419921" y="2211631"/>
                    <a:pt x="1629129" y="2003595"/>
                    <a:pt x="1629129" y="1582248"/>
                  </a:cubicBezTo>
                </a:path>
              </a:pathLst>
            </a:custGeom>
            <a:grpFill/>
            <a:ln w="585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23" name="Freeform: Shape 22">
              <a:extLst>
                <a:ext uri="{FF2B5EF4-FFF2-40B4-BE49-F238E27FC236}">
                  <a16:creationId xmlns:a16="http://schemas.microsoft.com/office/drawing/2014/main" id="{07CA096C-B568-2DFE-AD43-79CEBCEF1897}"/>
                </a:ext>
              </a:extLst>
            </p:cNvPr>
            <p:cNvSpPr/>
            <p:nvPr/>
          </p:nvSpPr>
          <p:spPr>
            <a:xfrm>
              <a:off x="7319018" y="350282"/>
              <a:ext cx="1640850" cy="3398903"/>
            </a:xfrm>
            <a:custGeom>
              <a:avLst/>
              <a:gdLst>
                <a:gd name="connsiteX0" fmla="*/ 631728 w 1640849"/>
                <a:gd name="connsiteY0" fmla="*/ 3445785 h 3398903"/>
                <a:gd name="connsiteX1" fmla="*/ 1050145 w 1640849"/>
                <a:gd name="connsiteY1" fmla="*/ 3445785 h 3398903"/>
                <a:gd name="connsiteX2" fmla="*/ 1682458 w 1640849"/>
                <a:gd name="connsiteY2" fmla="*/ 2816402 h 3398903"/>
                <a:gd name="connsiteX3" fmla="*/ 1682458 w 1640849"/>
                <a:gd name="connsiteY3" fmla="*/ 2185261 h 3398903"/>
                <a:gd name="connsiteX4" fmla="*/ 1011468 w 1640849"/>
                <a:gd name="connsiteY4" fmla="*/ 2185261 h 3398903"/>
                <a:gd name="connsiteX5" fmla="*/ 1011468 w 1640849"/>
                <a:gd name="connsiteY5" fmla="*/ 2744322 h 3398903"/>
                <a:gd name="connsiteX6" fmla="*/ 889576 w 1640849"/>
                <a:gd name="connsiteY6" fmla="*/ 2865041 h 3398903"/>
                <a:gd name="connsiteX7" fmla="*/ 802259 w 1640849"/>
                <a:gd name="connsiteY7" fmla="*/ 2865041 h 3398903"/>
                <a:gd name="connsiteX8" fmla="*/ 680954 w 1640849"/>
                <a:gd name="connsiteY8" fmla="*/ 2744322 h 3398903"/>
                <a:gd name="connsiteX9" fmla="*/ 680954 w 1640849"/>
                <a:gd name="connsiteY9" fmla="*/ 702049 h 3398903"/>
                <a:gd name="connsiteX10" fmla="*/ 802259 w 1640849"/>
                <a:gd name="connsiteY10" fmla="*/ 581330 h 3398903"/>
                <a:gd name="connsiteX11" fmla="*/ 880200 w 1640849"/>
                <a:gd name="connsiteY11" fmla="*/ 581330 h 3398903"/>
                <a:gd name="connsiteX12" fmla="*/ 1002092 w 1640849"/>
                <a:gd name="connsiteY12" fmla="*/ 702049 h 3398903"/>
                <a:gd name="connsiteX13" fmla="*/ 1002092 w 1640849"/>
                <a:gd name="connsiteY13" fmla="*/ 1176138 h 3398903"/>
                <a:gd name="connsiteX14" fmla="*/ 1673082 w 1640849"/>
                <a:gd name="connsiteY14" fmla="*/ 1176138 h 3398903"/>
                <a:gd name="connsiteX15" fmla="*/ 1673082 w 1640849"/>
                <a:gd name="connsiteY15" fmla="*/ 629383 h 3398903"/>
                <a:gd name="connsiteX16" fmla="*/ 1040769 w 1640849"/>
                <a:gd name="connsiteY16" fmla="*/ 0 h 3398903"/>
                <a:gd name="connsiteX17" fmla="*/ 632314 w 1640849"/>
                <a:gd name="connsiteY17" fmla="*/ 0 h 3398903"/>
                <a:gd name="connsiteX18" fmla="*/ 1 w 1640849"/>
                <a:gd name="connsiteY18" fmla="*/ 629383 h 3398903"/>
                <a:gd name="connsiteX19" fmla="*/ 1 w 1640849"/>
                <a:gd name="connsiteY19" fmla="*/ 2816988 h 3398903"/>
                <a:gd name="connsiteX20" fmla="*/ 631728 w 1640849"/>
                <a:gd name="connsiteY20" fmla="*/ 3445785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40849" h="3398903">
                  <a:moveTo>
                    <a:pt x="631728" y="3445785"/>
                  </a:moveTo>
                  <a:lnTo>
                    <a:pt x="1050145" y="3445785"/>
                  </a:lnTo>
                  <a:cubicBezTo>
                    <a:pt x="1473250" y="3445785"/>
                    <a:pt x="1682458" y="3237748"/>
                    <a:pt x="1682458" y="2816402"/>
                  </a:cubicBezTo>
                  <a:lnTo>
                    <a:pt x="1682458" y="2185261"/>
                  </a:lnTo>
                  <a:lnTo>
                    <a:pt x="1011468" y="2185261"/>
                  </a:lnTo>
                  <a:lnTo>
                    <a:pt x="1011468" y="2744322"/>
                  </a:lnTo>
                  <a:cubicBezTo>
                    <a:pt x="1011468" y="2826950"/>
                    <a:pt x="972205" y="2865041"/>
                    <a:pt x="889576" y="2865041"/>
                  </a:cubicBezTo>
                  <a:lnTo>
                    <a:pt x="802259" y="2865041"/>
                  </a:lnTo>
                  <a:cubicBezTo>
                    <a:pt x="719631" y="2865041"/>
                    <a:pt x="680954" y="2826364"/>
                    <a:pt x="680954" y="2744322"/>
                  </a:cubicBezTo>
                  <a:lnTo>
                    <a:pt x="680954" y="702049"/>
                  </a:lnTo>
                  <a:cubicBezTo>
                    <a:pt x="680954" y="620007"/>
                    <a:pt x="719631" y="581330"/>
                    <a:pt x="802259" y="581330"/>
                  </a:cubicBezTo>
                  <a:lnTo>
                    <a:pt x="880200" y="581330"/>
                  </a:lnTo>
                  <a:cubicBezTo>
                    <a:pt x="962828" y="581330"/>
                    <a:pt x="1002092" y="620007"/>
                    <a:pt x="1002092" y="702049"/>
                  </a:cubicBezTo>
                  <a:lnTo>
                    <a:pt x="1002092" y="1176138"/>
                  </a:lnTo>
                  <a:lnTo>
                    <a:pt x="1673082" y="1176138"/>
                  </a:lnTo>
                  <a:lnTo>
                    <a:pt x="1673082" y="629383"/>
                  </a:lnTo>
                  <a:cubicBezTo>
                    <a:pt x="1673082" y="208622"/>
                    <a:pt x="1463874" y="0"/>
                    <a:pt x="1040769" y="0"/>
                  </a:cubicBezTo>
                  <a:lnTo>
                    <a:pt x="632314" y="0"/>
                  </a:lnTo>
                  <a:cubicBezTo>
                    <a:pt x="209210" y="0"/>
                    <a:pt x="1" y="208036"/>
                    <a:pt x="1" y="629383"/>
                  </a:cubicBezTo>
                  <a:lnTo>
                    <a:pt x="1" y="2816988"/>
                  </a:lnTo>
                  <a:cubicBezTo>
                    <a:pt x="-585" y="3237748"/>
                    <a:pt x="208623" y="3445785"/>
                    <a:pt x="631728" y="3445785"/>
                  </a:cubicBezTo>
                </a:path>
              </a:pathLst>
            </a:custGeom>
            <a:grpFill/>
            <a:ln w="585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24" name="Freeform: Shape 23">
              <a:extLst>
                <a:ext uri="{FF2B5EF4-FFF2-40B4-BE49-F238E27FC236}">
                  <a16:creationId xmlns:a16="http://schemas.microsoft.com/office/drawing/2014/main" id="{D84BCE1F-1751-1DFE-F7B4-2616F26A529B}"/>
                </a:ext>
              </a:extLst>
            </p:cNvPr>
            <p:cNvSpPr/>
            <p:nvPr/>
          </p:nvSpPr>
          <p:spPr>
            <a:xfrm>
              <a:off x="1085548" y="350282"/>
              <a:ext cx="1640850" cy="3398903"/>
            </a:xfrm>
            <a:custGeom>
              <a:avLst/>
              <a:gdLst>
                <a:gd name="connsiteX0" fmla="*/ 632313 w 1640849"/>
                <a:gd name="connsiteY0" fmla="*/ 3445785 h 3398903"/>
                <a:gd name="connsiteX1" fmla="*/ 1050730 w 1640849"/>
                <a:gd name="connsiteY1" fmla="*/ 3445785 h 3398903"/>
                <a:gd name="connsiteX2" fmla="*/ 1683043 w 1640849"/>
                <a:gd name="connsiteY2" fmla="*/ 2816402 h 3398903"/>
                <a:gd name="connsiteX3" fmla="*/ 1683043 w 1640849"/>
                <a:gd name="connsiteY3" fmla="*/ 2185261 h 3398903"/>
                <a:gd name="connsiteX4" fmla="*/ 1011467 w 1640849"/>
                <a:gd name="connsiteY4" fmla="*/ 2185261 h 3398903"/>
                <a:gd name="connsiteX5" fmla="*/ 1011467 w 1640849"/>
                <a:gd name="connsiteY5" fmla="*/ 2744322 h 3398903"/>
                <a:gd name="connsiteX6" fmla="*/ 889575 w 1640849"/>
                <a:gd name="connsiteY6" fmla="*/ 2865041 h 3398903"/>
                <a:gd name="connsiteX7" fmla="*/ 802258 w 1640849"/>
                <a:gd name="connsiteY7" fmla="*/ 2865041 h 3398903"/>
                <a:gd name="connsiteX8" fmla="*/ 680953 w 1640849"/>
                <a:gd name="connsiteY8" fmla="*/ 2744322 h 3398903"/>
                <a:gd name="connsiteX9" fmla="*/ 680953 w 1640849"/>
                <a:gd name="connsiteY9" fmla="*/ 702049 h 3398903"/>
                <a:gd name="connsiteX10" fmla="*/ 802258 w 1640849"/>
                <a:gd name="connsiteY10" fmla="*/ 581330 h 3398903"/>
                <a:gd name="connsiteX11" fmla="*/ 880199 w 1640849"/>
                <a:gd name="connsiteY11" fmla="*/ 581330 h 3398903"/>
                <a:gd name="connsiteX12" fmla="*/ 1001504 w 1640849"/>
                <a:gd name="connsiteY12" fmla="*/ 702049 h 3398903"/>
                <a:gd name="connsiteX13" fmla="*/ 1001504 w 1640849"/>
                <a:gd name="connsiteY13" fmla="*/ 1176138 h 3398903"/>
                <a:gd name="connsiteX14" fmla="*/ 1672495 w 1640849"/>
                <a:gd name="connsiteY14" fmla="*/ 1176138 h 3398903"/>
                <a:gd name="connsiteX15" fmla="*/ 1672495 w 1640849"/>
                <a:gd name="connsiteY15" fmla="*/ 629383 h 3398903"/>
                <a:gd name="connsiteX16" fmla="*/ 1040768 w 1640849"/>
                <a:gd name="connsiteY16" fmla="*/ 0 h 3398903"/>
                <a:gd name="connsiteX17" fmla="*/ 632313 w 1640849"/>
                <a:gd name="connsiteY17" fmla="*/ 0 h 3398903"/>
                <a:gd name="connsiteX18" fmla="*/ 0 w 1640849"/>
                <a:gd name="connsiteY18" fmla="*/ 629383 h 3398903"/>
                <a:gd name="connsiteX19" fmla="*/ 0 w 1640849"/>
                <a:gd name="connsiteY19" fmla="*/ 2816988 h 3398903"/>
                <a:gd name="connsiteX20" fmla="*/ 632313 w 1640849"/>
                <a:gd name="connsiteY20" fmla="*/ 3445785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40849" h="3398903">
                  <a:moveTo>
                    <a:pt x="632313" y="3445785"/>
                  </a:moveTo>
                  <a:lnTo>
                    <a:pt x="1050730" y="3445785"/>
                  </a:lnTo>
                  <a:cubicBezTo>
                    <a:pt x="1473835" y="3445785"/>
                    <a:pt x="1683043" y="3237748"/>
                    <a:pt x="1683043" y="2816402"/>
                  </a:cubicBezTo>
                  <a:lnTo>
                    <a:pt x="1683043" y="2185261"/>
                  </a:lnTo>
                  <a:lnTo>
                    <a:pt x="1011467" y="2185261"/>
                  </a:lnTo>
                  <a:lnTo>
                    <a:pt x="1011467" y="2744322"/>
                  </a:lnTo>
                  <a:cubicBezTo>
                    <a:pt x="1011467" y="2826950"/>
                    <a:pt x="972790" y="2865041"/>
                    <a:pt x="889575" y="2865041"/>
                  </a:cubicBezTo>
                  <a:lnTo>
                    <a:pt x="802258" y="2865041"/>
                  </a:lnTo>
                  <a:cubicBezTo>
                    <a:pt x="719630" y="2865041"/>
                    <a:pt x="680953" y="2826364"/>
                    <a:pt x="680953" y="2744322"/>
                  </a:cubicBezTo>
                  <a:lnTo>
                    <a:pt x="680953" y="702049"/>
                  </a:lnTo>
                  <a:cubicBezTo>
                    <a:pt x="680953" y="620007"/>
                    <a:pt x="719630" y="581330"/>
                    <a:pt x="802258" y="581330"/>
                  </a:cubicBezTo>
                  <a:lnTo>
                    <a:pt x="880199" y="581330"/>
                  </a:lnTo>
                  <a:cubicBezTo>
                    <a:pt x="962827" y="581330"/>
                    <a:pt x="1001504" y="620007"/>
                    <a:pt x="1001504" y="702049"/>
                  </a:cubicBezTo>
                  <a:lnTo>
                    <a:pt x="1001504" y="1176138"/>
                  </a:lnTo>
                  <a:lnTo>
                    <a:pt x="1672495" y="1176138"/>
                  </a:lnTo>
                  <a:lnTo>
                    <a:pt x="1672495" y="629383"/>
                  </a:lnTo>
                  <a:cubicBezTo>
                    <a:pt x="1673081" y="208036"/>
                    <a:pt x="1463872" y="0"/>
                    <a:pt x="1040768" y="0"/>
                  </a:cubicBezTo>
                  <a:lnTo>
                    <a:pt x="632313" y="0"/>
                  </a:lnTo>
                  <a:cubicBezTo>
                    <a:pt x="209208" y="0"/>
                    <a:pt x="0" y="208036"/>
                    <a:pt x="0" y="629383"/>
                  </a:cubicBezTo>
                  <a:lnTo>
                    <a:pt x="0" y="2816988"/>
                  </a:lnTo>
                  <a:cubicBezTo>
                    <a:pt x="0" y="3237748"/>
                    <a:pt x="209208" y="3445785"/>
                    <a:pt x="632313" y="3445785"/>
                  </a:cubicBezTo>
                </a:path>
              </a:pathLst>
            </a:custGeom>
            <a:grpFill/>
            <a:ln w="585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25" name="Freeform: Shape 24">
              <a:extLst>
                <a:ext uri="{FF2B5EF4-FFF2-40B4-BE49-F238E27FC236}">
                  <a16:creationId xmlns:a16="http://schemas.microsoft.com/office/drawing/2014/main" id="{6526EC5C-76DC-D5D2-47CA-8FFB04CA9403}"/>
                </a:ext>
              </a:extLst>
            </p:cNvPr>
            <p:cNvSpPr/>
            <p:nvPr/>
          </p:nvSpPr>
          <p:spPr>
            <a:xfrm>
              <a:off x="9407000" y="350282"/>
              <a:ext cx="1699452" cy="3398903"/>
            </a:xfrm>
            <a:custGeom>
              <a:avLst/>
              <a:gdLst>
                <a:gd name="connsiteX0" fmla="*/ 1021429 w 1699451"/>
                <a:gd name="connsiteY0" fmla="*/ 2744322 h 3398903"/>
                <a:gd name="connsiteX1" fmla="*/ 900123 w 1699451"/>
                <a:gd name="connsiteY1" fmla="*/ 2865041 h 3398903"/>
                <a:gd name="connsiteX2" fmla="*/ 802844 w 1699451"/>
                <a:gd name="connsiteY2" fmla="*/ 2865041 h 3398903"/>
                <a:gd name="connsiteX3" fmla="*/ 681539 w 1699451"/>
                <a:gd name="connsiteY3" fmla="*/ 2744322 h 3398903"/>
                <a:gd name="connsiteX4" fmla="*/ 681539 w 1699451"/>
                <a:gd name="connsiteY4" fmla="*/ 702049 h 3398903"/>
                <a:gd name="connsiteX5" fmla="*/ 802844 w 1699451"/>
                <a:gd name="connsiteY5" fmla="*/ 581330 h 3398903"/>
                <a:gd name="connsiteX6" fmla="*/ 900123 w 1699451"/>
                <a:gd name="connsiteY6" fmla="*/ 581330 h 3398903"/>
                <a:gd name="connsiteX7" fmla="*/ 1021429 w 1699451"/>
                <a:gd name="connsiteY7" fmla="*/ 702049 h 3398903"/>
                <a:gd name="connsiteX8" fmla="*/ 1021429 w 1699451"/>
                <a:gd name="connsiteY8" fmla="*/ 2744322 h 3398903"/>
                <a:gd name="connsiteX9" fmla="*/ 1702382 w 1699451"/>
                <a:gd name="connsiteY9" fmla="*/ 2816988 h 3398903"/>
                <a:gd name="connsiteX10" fmla="*/ 1702382 w 1699451"/>
                <a:gd name="connsiteY10" fmla="*/ 629383 h 3398903"/>
                <a:gd name="connsiteX11" fmla="*/ 1070068 w 1699451"/>
                <a:gd name="connsiteY11" fmla="*/ 0 h 3398903"/>
                <a:gd name="connsiteX12" fmla="*/ 632313 w 1699451"/>
                <a:gd name="connsiteY12" fmla="*/ 0 h 3398903"/>
                <a:gd name="connsiteX13" fmla="*/ 0 w 1699451"/>
                <a:gd name="connsiteY13" fmla="*/ 629383 h 3398903"/>
                <a:gd name="connsiteX14" fmla="*/ 0 w 1699451"/>
                <a:gd name="connsiteY14" fmla="*/ 2816988 h 3398903"/>
                <a:gd name="connsiteX15" fmla="*/ 632313 w 1699451"/>
                <a:gd name="connsiteY15" fmla="*/ 3446371 h 3398903"/>
                <a:gd name="connsiteX16" fmla="*/ 1070068 w 1699451"/>
                <a:gd name="connsiteY16" fmla="*/ 3446371 h 3398903"/>
                <a:gd name="connsiteX17" fmla="*/ 1702382 w 1699451"/>
                <a:gd name="connsiteY17" fmla="*/ 2816988 h 339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99451" h="3398903">
                  <a:moveTo>
                    <a:pt x="1021429" y="2744322"/>
                  </a:moveTo>
                  <a:cubicBezTo>
                    <a:pt x="1021429" y="2826950"/>
                    <a:pt x="982752" y="2865041"/>
                    <a:pt x="900123" y="2865041"/>
                  </a:cubicBezTo>
                  <a:lnTo>
                    <a:pt x="802844" y="2865041"/>
                  </a:lnTo>
                  <a:cubicBezTo>
                    <a:pt x="720215" y="2865041"/>
                    <a:pt x="681539" y="2826364"/>
                    <a:pt x="681539" y="2744322"/>
                  </a:cubicBezTo>
                  <a:lnTo>
                    <a:pt x="681539" y="702049"/>
                  </a:lnTo>
                  <a:cubicBezTo>
                    <a:pt x="681539" y="620007"/>
                    <a:pt x="720215" y="581330"/>
                    <a:pt x="802844" y="581330"/>
                  </a:cubicBezTo>
                  <a:lnTo>
                    <a:pt x="900123" y="581330"/>
                  </a:lnTo>
                  <a:cubicBezTo>
                    <a:pt x="982752" y="581330"/>
                    <a:pt x="1021429" y="620007"/>
                    <a:pt x="1021429" y="702049"/>
                  </a:cubicBezTo>
                  <a:lnTo>
                    <a:pt x="1021429" y="2744322"/>
                  </a:lnTo>
                  <a:close/>
                  <a:moveTo>
                    <a:pt x="1702382" y="2816988"/>
                  </a:moveTo>
                  <a:lnTo>
                    <a:pt x="1702382" y="629383"/>
                  </a:lnTo>
                  <a:cubicBezTo>
                    <a:pt x="1702382" y="208622"/>
                    <a:pt x="1493173" y="0"/>
                    <a:pt x="1070068" y="0"/>
                  </a:cubicBezTo>
                  <a:lnTo>
                    <a:pt x="632313" y="0"/>
                  </a:lnTo>
                  <a:cubicBezTo>
                    <a:pt x="209209" y="0"/>
                    <a:pt x="0" y="208036"/>
                    <a:pt x="0" y="629383"/>
                  </a:cubicBezTo>
                  <a:lnTo>
                    <a:pt x="0" y="2816988"/>
                  </a:lnTo>
                  <a:cubicBezTo>
                    <a:pt x="0" y="3238334"/>
                    <a:pt x="209209" y="3446371"/>
                    <a:pt x="632313" y="3446371"/>
                  </a:cubicBezTo>
                  <a:lnTo>
                    <a:pt x="1070068" y="3446371"/>
                  </a:lnTo>
                  <a:cubicBezTo>
                    <a:pt x="1493173" y="3445785"/>
                    <a:pt x="1702382" y="3237748"/>
                    <a:pt x="1702382" y="2816988"/>
                  </a:cubicBezTo>
                </a:path>
              </a:pathLst>
            </a:custGeom>
            <a:grpFill/>
            <a:ln w="585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sp>
          <p:nvSpPr>
            <p:cNvPr id="26" name="Freeform: Shape 25">
              <a:extLst>
                <a:ext uri="{FF2B5EF4-FFF2-40B4-BE49-F238E27FC236}">
                  <a16:creationId xmlns:a16="http://schemas.microsoft.com/office/drawing/2014/main" id="{E652881D-A8AE-BEEC-1819-141EC1BADD6D}"/>
                </a:ext>
              </a:extLst>
            </p:cNvPr>
            <p:cNvSpPr/>
            <p:nvPr/>
          </p:nvSpPr>
          <p:spPr>
            <a:xfrm>
              <a:off x="3104379" y="379583"/>
              <a:ext cx="1816655" cy="3340301"/>
            </a:xfrm>
            <a:custGeom>
              <a:avLst/>
              <a:gdLst>
                <a:gd name="connsiteX0" fmla="*/ 1031391 w 1816655"/>
                <a:gd name="connsiteY0" fmla="*/ 2303636 h 3340301"/>
                <a:gd name="connsiteX1" fmla="*/ 729592 w 1816655"/>
                <a:gd name="connsiteY1" fmla="*/ 2303636 h 3340301"/>
                <a:gd name="connsiteX2" fmla="*/ 880199 w 1816655"/>
                <a:gd name="connsiteY2" fmla="*/ 827457 h 3340301"/>
                <a:gd name="connsiteX3" fmla="*/ 1031391 w 1816655"/>
                <a:gd name="connsiteY3" fmla="*/ 2303636 h 3340301"/>
                <a:gd name="connsiteX4" fmla="*/ 1823687 w 1816655"/>
                <a:gd name="connsiteY4" fmla="*/ 3387769 h 3340301"/>
                <a:gd name="connsiteX5" fmla="*/ 1376556 w 1816655"/>
                <a:gd name="connsiteY5" fmla="*/ 0 h 3340301"/>
                <a:gd name="connsiteX6" fmla="*/ 447132 w 1816655"/>
                <a:gd name="connsiteY6" fmla="*/ 0 h 3340301"/>
                <a:gd name="connsiteX7" fmla="*/ 0 w 1816655"/>
                <a:gd name="connsiteY7" fmla="*/ 3387769 h 3340301"/>
                <a:gd name="connsiteX8" fmla="*/ 617663 w 1816655"/>
                <a:gd name="connsiteY8" fmla="*/ 3387769 h 3340301"/>
                <a:gd name="connsiteX9" fmla="*/ 666302 w 1816655"/>
                <a:gd name="connsiteY9" fmla="*/ 2894342 h 3340301"/>
                <a:gd name="connsiteX10" fmla="*/ 1094095 w 1816655"/>
                <a:gd name="connsiteY10" fmla="*/ 2894342 h 3340301"/>
                <a:gd name="connsiteX11" fmla="*/ 1147423 w 1816655"/>
                <a:gd name="connsiteY11" fmla="*/ 3387769 h 3340301"/>
                <a:gd name="connsiteX12" fmla="*/ 1823687 w 1816655"/>
                <a:gd name="connsiteY12" fmla="*/ 3387769 h 334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16655" h="3340301">
                  <a:moveTo>
                    <a:pt x="1031391" y="2303636"/>
                  </a:moveTo>
                  <a:lnTo>
                    <a:pt x="729592" y="2303636"/>
                  </a:lnTo>
                  <a:lnTo>
                    <a:pt x="880199" y="827457"/>
                  </a:lnTo>
                  <a:lnTo>
                    <a:pt x="1031391" y="2303636"/>
                  </a:lnTo>
                  <a:close/>
                  <a:moveTo>
                    <a:pt x="1823687" y="3387769"/>
                  </a:moveTo>
                  <a:lnTo>
                    <a:pt x="1376556" y="0"/>
                  </a:lnTo>
                  <a:lnTo>
                    <a:pt x="447132" y="0"/>
                  </a:lnTo>
                  <a:lnTo>
                    <a:pt x="0" y="3387769"/>
                  </a:lnTo>
                  <a:lnTo>
                    <a:pt x="617663" y="3387769"/>
                  </a:lnTo>
                  <a:lnTo>
                    <a:pt x="666302" y="2894342"/>
                  </a:lnTo>
                  <a:lnTo>
                    <a:pt x="1094095" y="2894342"/>
                  </a:lnTo>
                  <a:lnTo>
                    <a:pt x="1147423" y="3387769"/>
                  </a:lnTo>
                  <a:lnTo>
                    <a:pt x="1823687" y="3387769"/>
                  </a:lnTo>
                  <a:close/>
                </a:path>
              </a:pathLst>
            </a:custGeom>
            <a:grpFill/>
            <a:ln w="585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30043142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le with Banner">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5CE49E90-5CFA-4F45-AB72-151510CE825F}"/>
              </a:ext>
            </a:extLst>
          </p:cNvPr>
          <p:cNvSpPr txBox="1"/>
          <p:nvPr userDrawn="1"/>
        </p:nvSpPr>
        <p:spPr>
          <a:xfrm>
            <a:off x="11372849" y="6423669"/>
            <a:ext cx="298722" cy="269383"/>
          </a:xfrm>
          <a:prstGeom prst="rect">
            <a:avLst/>
          </a:prstGeom>
          <a:noFill/>
        </p:spPr>
        <p:txBody>
          <a:bodyPr wrap="square" lIns="0" tIns="0" rIns="0" bIns="0" rtlCol="0" anchor="ctr" anchorCtr="0">
            <a:noAutofit/>
          </a:bodyPr>
          <a:lstStyle/>
          <a:p>
            <a:pPr marL="0" marR="0" lvl="0" indent="0" algn="r" defTabSz="1088340" rtl="0" eaLnBrk="1" fontAlgn="auto" latinLnBrk="0" hangingPunct="1">
              <a:lnSpc>
                <a:spcPct val="100000"/>
              </a:lnSpc>
              <a:spcBef>
                <a:spcPts val="0"/>
              </a:spcBef>
              <a:spcAft>
                <a:spcPts val="0"/>
              </a:spcAft>
              <a:buClrTx/>
              <a:buSzTx/>
              <a:buFontTx/>
              <a:buNone/>
              <a:tabLst/>
              <a:defRPr/>
            </a:pPr>
            <a:fld id="{3BB745A9-307D-7A4A-B43D-4F1813E0F239}" type="slidenum">
              <a:rPr kumimoji="0" lang="en-US" sz="800" b="0" i="0" u="none" strike="noStrike" kern="1200" cap="none" spc="0" normalizeH="0" baseline="0" noProof="0" smtClean="0">
                <a:ln>
                  <a:noFill/>
                </a:ln>
                <a:solidFill>
                  <a:schemeClr val="bg2">
                    <a:lumMod val="75000"/>
                  </a:schemeClr>
                </a:solidFill>
                <a:effectLst/>
                <a:uLnTx/>
                <a:uFillTx/>
                <a:latin typeface="Calibri" panose="020F0502020204030204" pitchFamily="34" charset="0"/>
                <a:cs typeface="Calibri" panose="020F0502020204030204" pitchFamily="34" charset="0"/>
              </a:rPr>
              <a:pPr marL="0" marR="0" lvl="0" indent="0" algn="r" defTabSz="108834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chemeClr val="bg2">
                  <a:lumMod val="75000"/>
                </a:schemeClr>
              </a:solidFill>
              <a:effectLst/>
              <a:uLnTx/>
              <a:uFillTx/>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A7302315-6827-40B3-A30B-0796A3D2E04B}"/>
              </a:ext>
            </a:extLst>
          </p:cNvPr>
          <p:cNvSpPr txBox="1"/>
          <p:nvPr userDrawn="1"/>
        </p:nvSpPr>
        <p:spPr>
          <a:xfrm>
            <a:off x="550863" y="6486685"/>
            <a:ext cx="3254096" cy="123111"/>
          </a:xfrm>
          <a:prstGeom prst="rect">
            <a:avLst/>
          </a:prstGeom>
          <a:noFill/>
        </p:spPr>
        <p:txBody>
          <a:bodyPr wrap="square" lIns="0" tIns="0" rIns="0" bIns="0" rtlCol="0">
            <a:spAutoFit/>
          </a:bodyPr>
          <a:lstStyle/>
          <a:p>
            <a:pPr marL="0" marR="0" lvl="0" indent="0" algn="l" defTabSz="10883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lumMod val="75000"/>
                  </a:schemeClr>
                </a:solidFill>
                <a:effectLst/>
                <a:uLnTx/>
                <a:uFillTx/>
                <a:latin typeface="Calibri" panose="020F0502020204030204" pitchFamily="34" charset="0"/>
                <a:cs typeface="Calibri" panose="020F0502020204030204" pitchFamily="34" charset="0"/>
              </a:rPr>
              <a:t>© 2024 The Capital Markets Company. Capco Confidential. All rights reserved.</a:t>
            </a:r>
          </a:p>
        </p:txBody>
      </p:sp>
      <p:sp>
        <p:nvSpPr>
          <p:cNvPr id="9" name="Title Placeholder 1">
            <a:extLst>
              <a:ext uri="{FF2B5EF4-FFF2-40B4-BE49-F238E27FC236}">
                <a16:creationId xmlns:a16="http://schemas.microsoft.com/office/drawing/2014/main" id="{6D7443DB-B06E-4E5F-A4BC-D9AA9DF68064}"/>
              </a:ext>
            </a:extLst>
          </p:cNvPr>
          <p:cNvSpPr>
            <a:spLocks noGrp="1"/>
          </p:cNvSpPr>
          <p:nvPr>
            <p:ph type="title" hasCustomPrompt="1"/>
          </p:nvPr>
        </p:nvSpPr>
        <p:spPr>
          <a:xfrm>
            <a:off x="542647" y="365126"/>
            <a:ext cx="11098999" cy="332399"/>
          </a:xfrm>
          <a:prstGeom prst="rect">
            <a:avLst/>
          </a:prstGeom>
        </p:spPr>
        <p:txBody>
          <a:bodyPr vert="horz" lIns="0" tIns="0" rIns="0" bIns="0" rtlCol="0" anchor="t" anchorCtr="0">
            <a:spAutoFit/>
          </a:bodyPr>
          <a:lstStyle>
            <a:lvl1pPr>
              <a:lnSpc>
                <a:spcPct val="90000"/>
              </a:lnSpc>
              <a:defRPr cap="all" baseline="0">
                <a:solidFill>
                  <a:schemeClr val="tx2"/>
                </a:solidFill>
              </a:defRPr>
            </a:lvl1pPr>
          </a:lstStyle>
          <a:p>
            <a:r>
              <a:rPr lang="en-US"/>
              <a:t>CLICK TO EDIT MASTER TITLE STYLE</a:t>
            </a:r>
            <a:endParaRPr lang="en-GB"/>
          </a:p>
        </p:txBody>
      </p:sp>
      <p:grpSp>
        <p:nvGrpSpPr>
          <p:cNvPr id="5" name="Group 4">
            <a:extLst>
              <a:ext uri="{FF2B5EF4-FFF2-40B4-BE49-F238E27FC236}">
                <a16:creationId xmlns:a16="http://schemas.microsoft.com/office/drawing/2014/main" id="{2AEA92D6-81C9-40B3-361C-23ADF6E6B9B2}"/>
              </a:ext>
            </a:extLst>
          </p:cNvPr>
          <p:cNvGrpSpPr/>
          <p:nvPr userDrawn="1"/>
        </p:nvGrpSpPr>
        <p:grpSpPr>
          <a:xfrm>
            <a:off x="-3854" y="5962600"/>
            <a:ext cx="12192000" cy="895400"/>
            <a:chOff x="-3854" y="5962600"/>
            <a:chExt cx="12192000" cy="895400"/>
          </a:xfrm>
        </p:grpSpPr>
        <p:sp>
          <p:nvSpPr>
            <p:cNvPr id="2" name="Rectangle 1">
              <a:extLst>
                <a:ext uri="{FF2B5EF4-FFF2-40B4-BE49-F238E27FC236}">
                  <a16:creationId xmlns:a16="http://schemas.microsoft.com/office/drawing/2014/main" id="{69591FBF-1EDF-E87E-332C-2470F86EE81B}"/>
                </a:ext>
              </a:extLst>
            </p:cNvPr>
            <p:cNvSpPr/>
            <p:nvPr userDrawn="1"/>
          </p:nvSpPr>
          <p:spPr>
            <a:xfrm>
              <a:off x="-3854" y="5962600"/>
              <a:ext cx="12192000" cy="895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mn-lt"/>
                <a:ea typeface="+mn-ea"/>
                <a:cs typeface="+mn-cs"/>
              </a:endParaRPr>
            </a:p>
          </p:txBody>
        </p:sp>
        <p:sp>
          <p:nvSpPr>
            <p:cNvPr id="4" name="TextBox 3">
              <a:extLst>
                <a:ext uri="{FF2B5EF4-FFF2-40B4-BE49-F238E27FC236}">
                  <a16:creationId xmlns:a16="http://schemas.microsoft.com/office/drawing/2014/main" id="{9DFA6E68-F603-7636-0735-C994AC4B1DB3}"/>
                </a:ext>
              </a:extLst>
            </p:cNvPr>
            <p:cNvSpPr txBox="1"/>
            <p:nvPr userDrawn="1"/>
          </p:nvSpPr>
          <p:spPr>
            <a:xfrm>
              <a:off x="542901" y="6225634"/>
              <a:ext cx="11098490" cy="369332"/>
            </a:xfrm>
            <a:prstGeom prst="rect">
              <a:avLst/>
            </a:prstGeom>
            <a:noFill/>
          </p:spPr>
          <p:txBody>
            <a:bodyPr wrap="square" rtlCol="0">
              <a:spAutoFit/>
            </a:bodyPr>
            <a:lstStyle/>
            <a:p>
              <a:pPr algn="ctr"/>
              <a:endParaRPr lang="en-US" sz="1800">
                <a:solidFill>
                  <a:schemeClr val="bg1"/>
                </a:solidFill>
              </a:endParaRPr>
            </a:p>
          </p:txBody>
        </p:sp>
      </p:grpSp>
    </p:spTree>
    <p:extLst>
      <p:ext uri="{BB962C8B-B14F-4D97-AF65-F5344CB8AC3E}">
        <p14:creationId xmlns:p14="http://schemas.microsoft.com/office/powerpoint/2010/main" val="2559654655"/>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itle with Content">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C6B67007-3E56-6F41-A1C4-064534E2833A}"/>
              </a:ext>
            </a:extLst>
          </p:cNvPr>
          <p:cNvSpPr>
            <a:spLocks noGrp="1"/>
          </p:cNvSpPr>
          <p:nvPr>
            <p:ph idx="1"/>
          </p:nvPr>
        </p:nvSpPr>
        <p:spPr>
          <a:xfrm>
            <a:off x="542647" y="1629968"/>
            <a:ext cx="11090275" cy="4608513"/>
          </a:xfrm>
          <a:prstGeom prst="rect">
            <a:avLst/>
          </a:prstGeom>
        </p:spPr>
        <p:txBody>
          <a:bodyPr vert="horz" lIns="0" tIns="0" rIns="0" bIns="0" rtlCol="0">
            <a:noAutofit/>
          </a:bodyPr>
          <a:lstStyle>
            <a:lvl1pPr>
              <a:defRPr sz="1400" b="0" i="0">
                <a:solidFill>
                  <a:schemeClr val="tx1"/>
                </a:solidFill>
                <a:latin typeface="Aptos" panose="020B0004020202020204" pitchFamily="34" charset="0"/>
              </a:defRPr>
            </a:lvl1pPr>
            <a:lvl2pPr>
              <a:defRPr sz="1400" b="0" i="0">
                <a:solidFill>
                  <a:schemeClr val="tx1"/>
                </a:solidFill>
                <a:latin typeface="Aptos" panose="020B0004020202020204" pitchFamily="34" charset="0"/>
              </a:defRPr>
            </a:lvl2pPr>
            <a:lvl3pPr marL="180975" indent="-180975">
              <a:buClrTx/>
              <a:buFont typeface="Wingdings" panose="05000000000000000000" pitchFamily="2" charset="2"/>
              <a:buChar char="§"/>
              <a:defRPr sz="1200" b="0" i="0">
                <a:solidFill>
                  <a:schemeClr val="tx1"/>
                </a:solidFill>
                <a:latin typeface="Aptos" panose="020B0004020202020204" pitchFamily="34" charset="0"/>
              </a:defRPr>
            </a:lvl3pPr>
            <a:lvl4pPr marL="361950" indent="-180975">
              <a:buClrTx/>
              <a:buFont typeface="Wingdings" panose="05000000000000000000" pitchFamily="2" charset="2"/>
              <a:buChar char="§"/>
              <a:defRPr sz="1200" b="0" i="0">
                <a:solidFill>
                  <a:schemeClr val="tx1"/>
                </a:solidFill>
                <a:latin typeface="Aptos" panose="020B0004020202020204" pitchFamily="34" charset="0"/>
              </a:defRPr>
            </a:lvl4pPr>
            <a:lvl5pPr marL="542925" indent="-180975">
              <a:buClrTx/>
              <a:buFont typeface="Wingdings" panose="05000000000000000000" pitchFamily="2" charset="2"/>
              <a:buChar char="§"/>
              <a:defRPr sz="1200" b="0" i="0">
                <a:solidFill>
                  <a:schemeClr val="tx1"/>
                </a:solidFill>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itle Placeholder 1">
            <a:extLst>
              <a:ext uri="{FF2B5EF4-FFF2-40B4-BE49-F238E27FC236}">
                <a16:creationId xmlns:a16="http://schemas.microsoft.com/office/drawing/2014/main" id="{6D7443DB-B06E-4E5F-A4BC-D9AA9DF68064}"/>
              </a:ext>
            </a:extLst>
          </p:cNvPr>
          <p:cNvSpPr>
            <a:spLocks noGrp="1"/>
          </p:cNvSpPr>
          <p:nvPr>
            <p:ph type="title" hasCustomPrompt="1"/>
          </p:nvPr>
        </p:nvSpPr>
        <p:spPr>
          <a:xfrm>
            <a:off x="542647" y="365126"/>
            <a:ext cx="11098999" cy="332399"/>
          </a:xfrm>
          <a:prstGeom prst="rect">
            <a:avLst/>
          </a:prstGeom>
        </p:spPr>
        <p:txBody>
          <a:bodyPr vert="horz" lIns="0" tIns="0" rIns="0" bIns="0" rtlCol="0" anchor="t" anchorCtr="0">
            <a:spAutoFit/>
          </a:bodyPr>
          <a:lstStyle>
            <a:lvl1pPr>
              <a:lnSpc>
                <a:spcPct val="90000"/>
              </a:lnSpc>
              <a:defRPr cap="all" baseline="0">
                <a:solidFill>
                  <a:schemeClr val="tx2"/>
                </a:solidFill>
              </a:defRPr>
            </a:lvl1pPr>
          </a:lstStyle>
          <a:p>
            <a:r>
              <a:rPr lang="en-US"/>
              <a:t>CLICK TO EDIT MASTER TITLE STYLE</a:t>
            </a:r>
            <a:endParaRPr lang="en-GB"/>
          </a:p>
        </p:txBody>
      </p:sp>
      <p:sp>
        <p:nvSpPr>
          <p:cNvPr id="10" name="Text Placeholder 7">
            <a:extLst>
              <a:ext uri="{FF2B5EF4-FFF2-40B4-BE49-F238E27FC236}">
                <a16:creationId xmlns:a16="http://schemas.microsoft.com/office/drawing/2014/main" id="{DE602716-57DF-48F3-AE26-B41D3C0A77A0}"/>
              </a:ext>
            </a:extLst>
          </p:cNvPr>
          <p:cNvSpPr>
            <a:spLocks noGrp="1"/>
          </p:cNvSpPr>
          <p:nvPr>
            <p:ph type="body" sz="quarter" idx="10" hasCustomPrompt="1"/>
          </p:nvPr>
        </p:nvSpPr>
        <p:spPr>
          <a:xfrm>
            <a:off x="542647" y="814367"/>
            <a:ext cx="11098999" cy="249299"/>
          </a:xfrm>
        </p:spPr>
        <p:txBody>
          <a:bodyPr wrap="square">
            <a:spAutoFit/>
          </a:bodyPr>
          <a:lstStyle>
            <a:lvl1pPr>
              <a:lnSpc>
                <a:spcPct val="90000"/>
              </a:lnSpc>
              <a:spcBef>
                <a:spcPts val="0"/>
              </a:spcBef>
              <a:defRPr sz="1800" b="1" i="0">
                <a:solidFill>
                  <a:schemeClr val="bg2">
                    <a:lumMod val="50000"/>
                  </a:schemeClr>
                </a:solidFill>
                <a:latin typeface="Century Gothic" panose="020B0502020202020204" pitchFamily="34" charset="0"/>
              </a:defRPr>
            </a:lvl1pPr>
          </a:lstStyle>
          <a:p>
            <a:pPr lvl="0"/>
            <a:r>
              <a:rPr lang="en-US"/>
              <a:t>Subtitle goes here</a:t>
            </a:r>
          </a:p>
        </p:txBody>
      </p:sp>
      <p:sp>
        <p:nvSpPr>
          <p:cNvPr id="11" name="TextBox 10">
            <a:extLst>
              <a:ext uri="{FF2B5EF4-FFF2-40B4-BE49-F238E27FC236}">
                <a16:creationId xmlns:a16="http://schemas.microsoft.com/office/drawing/2014/main" id="{5CE49E90-5CFA-4F45-AB72-151510CE825F}"/>
              </a:ext>
            </a:extLst>
          </p:cNvPr>
          <p:cNvSpPr txBox="1"/>
          <p:nvPr userDrawn="1"/>
        </p:nvSpPr>
        <p:spPr>
          <a:xfrm>
            <a:off x="11372849" y="6423669"/>
            <a:ext cx="298722" cy="269383"/>
          </a:xfrm>
          <a:prstGeom prst="rect">
            <a:avLst/>
          </a:prstGeom>
          <a:noFill/>
        </p:spPr>
        <p:txBody>
          <a:bodyPr wrap="square" lIns="0" tIns="0" rIns="0" bIns="0" rtlCol="0" anchor="ctr" anchorCtr="0">
            <a:noAutofit/>
          </a:bodyPr>
          <a:lstStyle/>
          <a:p>
            <a:pPr marL="0" marR="0" lvl="0" indent="0" algn="r" defTabSz="1088340" rtl="0" eaLnBrk="1" fontAlgn="auto" latinLnBrk="0" hangingPunct="1">
              <a:lnSpc>
                <a:spcPct val="100000"/>
              </a:lnSpc>
              <a:spcBef>
                <a:spcPts val="0"/>
              </a:spcBef>
              <a:spcAft>
                <a:spcPts val="0"/>
              </a:spcAft>
              <a:buClrTx/>
              <a:buSzTx/>
              <a:buFontTx/>
              <a:buNone/>
              <a:tabLst/>
              <a:defRPr/>
            </a:pPr>
            <a:fld id="{3BB745A9-307D-7A4A-B43D-4F1813E0F239}" type="slidenum">
              <a:rPr kumimoji="0" lang="en-US" sz="800" b="0" i="0" u="none" strike="noStrike" kern="1200" cap="none" spc="0" normalizeH="0" baseline="0" noProof="0" smtClean="0">
                <a:ln>
                  <a:noFill/>
                </a:ln>
                <a:solidFill>
                  <a:schemeClr val="bg2">
                    <a:lumMod val="75000"/>
                  </a:schemeClr>
                </a:solidFill>
                <a:effectLst/>
                <a:uLnTx/>
                <a:uFillTx/>
                <a:latin typeface="Calibri" panose="020F0502020204030204" pitchFamily="34" charset="0"/>
                <a:cs typeface="Calibri" panose="020F0502020204030204" pitchFamily="34" charset="0"/>
              </a:rPr>
              <a:pPr marL="0" marR="0" lvl="0" indent="0" algn="r" defTabSz="108834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chemeClr val="bg2">
                  <a:lumMod val="75000"/>
                </a:schemeClr>
              </a:solidFill>
              <a:effectLst/>
              <a:uLnTx/>
              <a:uFillTx/>
              <a:latin typeface="Calibri" panose="020F0502020204030204" pitchFamily="34" charset="0"/>
              <a:cs typeface="Calibri" panose="020F0502020204030204" pitchFamily="34" charset="0"/>
            </a:endParaRPr>
          </a:p>
        </p:txBody>
      </p:sp>
      <p:sp>
        <p:nvSpPr>
          <p:cNvPr id="12" name="Footer Placeholder 3">
            <a:extLst>
              <a:ext uri="{FF2B5EF4-FFF2-40B4-BE49-F238E27FC236}">
                <a16:creationId xmlns:a16="http://schemas.microsoft.com/office/drawing/2014/main" id="{4C84E3C7-E516-4BA9-AC4F-6BF1E5CE6C44}"/>
              </a:ext>
            </a:extLst>
          </p:cNvPr>
          <p:cNvSpPr>
            <a:spLocks noGrp="1"/>
          </p:cNvSpPr>
          <p:nvPr>
            <p:ph type="ftr" sz="quarter" idx="3"/>
          </p:nvPr>
        </p:nvSpPr>
        <p:spPr>
          <a:xfrm>
            <a:off x="3895724" y="6463172"/>
            <a:ext cx="7477125" cy="297962"/>
          </a:xfrm>
          <a:prstGeom prst="rect">
            <a:avLst/>
          </a:prstGeom>
          <a:noFill/>
        </p:spPr>
        <p:txBody>
          <a:bodyPr vert="horz" lIns="45720" tIns="36000" rIns="91440" bIns="45720" rtlCol="0" anchor="t" anchorCtr="0">
            <a:spAutoFit/>
          </a:bodyPr>
          <a:lstStyle>
            <a:lvl1pPr>
              <a:defRPr lang="en-US" sz="700" smtClean="0">
                <a:solidFill>
                  <a:schemeClr val="bg1">
                    <a:lumMod val="75000"/>
                  </a:schemeClr>
                </a:solidFill>
              </a:defRPr>
            </a:lvl1pPr>
          </a:lstStyle>
          <a:p>
            <a:r>
              <a:rPr lang="en-US"/>
              <a:t>To edit the footer text go to Insert &gt; Header &amp; Footer</a:t>
            </a:r>
          </a:p>
          <a:p>
            <a:r>
              <a:rPr lang="en-US"/>
              <a:t>Footer can span to two lines </a:t>
            </a:r>
          </a:p>
        </p:txBody>
      </p:sp>
    </p:spTree>
    <p:extLst>
      <p:ext uri="{BB962C8B-B14F-4D97-AF65-F5344CB8AC3E}">
        <p14:creationId xmlns:p14="http://schemas.microsoft.com/office/powerpoint/2010/main" val="4039835657"/>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and Subtitle">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6D7443DB-B06E-4E5F-A4BC-D9AA9DF68064}"/>
              </a:ext>
            </a:extLst>
          </p:cNvPr>
          <p:cNvSpPr>
            <a:spLocks noGrp="1"/>
          </p:cNvSpPr>
          <p:nvPr>
            <p:ph type="title" hasCustomPrompt="1"/>
          </p:nvPr>
        </p:nvSpPr>
        <p:spPr>
          <a:xfrm>
            <a:off x="542647" y="365126"/>
            <a:ext cx="11098999" cy="332399"/>
          </a:xfrm>
          <a:prstGeom prst="rect">
            <a:avLst/>
          </a:prstGeom>
        </p:spPr>
        <p:txBody>
          <a:bodyPr vert="horz" lIns="0" tIns="0" rIns="0" bIns="0" rtlCol="0" anchor="t" anchorCtr="0">
            <a:spAutoFit/>
          </a:bodyPr>
          <a:lstStyle>
            <a:lvl1pPr>
              <a:lnSpc>
                <a:spcPct val="90000"/>
              </a:lnSpc>
              <a:defRPr cap="all" baseline="0">
                <a:solidFill>
                  <a:schemeClr val="tx2"/>
                </a:solidFill>
              </a:defRPr>
            </a:lvl1pPr>
          </a:lstStyle>
          <a:p>
            <a:r>
              <a:rPr lang="en-US"/>
              <a:t>CLICK TO EDIT MASTER TITLE STYLE</a:t>
            </a:r>
            <a:endParaRPr lang="en-GB"/>
          </a:p>
        </p:txBody>
      </p:sp>
      <p:sp>
        <p:nvSpPr>
          <p:cNvPr id="10" name="Text Placeholder 7">
            <a:extLst>
              <a:ext uri="{FF2B5EF4-FFF2-40B4-BE49-F238E27FC236}">
                <a16:creationId xmlns:a16="http://schemas.microsoft.com/office/drawing/2014/main" id="{DE602716-57DF-48F3-AE26-B41D3C0A77A0}"/>
              </a:ext>
            </a:extLst>
          </p:cNvPr>
          <p:cNvSpPr>
            <a:spLocks noGrp="1"/>
          </p:cNvSpPr>
          <p:nvPr>
            <p:ph type="body" sz="quarter" idx="10" hasCustomPrompt="1"/>
          </p:nvPr>
        </p:nvSpPr>
        <p:spPr>
          <a:xfrm>
            <a:off x="542647" y="814367"/>
            <a:ext cx="11098999" cy="249299"/>
          </a:xfrm>
        </p:spPr>
        <p:txBody>
          <a:bodyPr wrap="square">
            <a:spAutoFit/>
          </a:bodyPr>
          <a:lstStyle>
            <a:lvl1pPr>
              <a:lnSpc>
                <a:spcPct val="90000"/>
              </a:lnSpc>
              <a:spcBef>
                <a:spcPts val="0"/>
              </a:spcBef>
              <a:defRPr sz="1800" b="1" i="0">
                <a:solidFill>
                  <a:schemeClr val="bg2">
                    <a:lumMod val="50000"/>
                  </a:schemeClr>
                </a:solidFill>
                <a:latin typeface="Century Gothic" panose="020B0502020202020204" pitchFamily="34" charset="0"/>
              </a:defRPr>
            </a:lvl1pPr>
          </a:lstStyle>
          <a:p>
            <a:pPr lvl="0"/>
            <a:r>
              <a:rPr lang="en-US"/>
              <a:t>Subtitle goes here</a:t>
            </a:r>
          </a:p>
        </p:txBody>
      </p:sp>
      <p:sp>
        <p:nvSpPr>
          <p:cNvPr id="11" name="TextBox 10">
            <a:extLst>
              <a:ext uri="{FF2B5EF4-FFF2-40B4-BE49-F238E27FC236}">
                <a16:creationId xmlns:a16="http://schemas.microsoft.com/office/drawing/2014/main" id="{5CE49E90-5CFA-4F45-AB72-151510CE825F}"/>
              </a:ext>
            </a:extLst>
          </p:cNvPr>
          <p:cNvSpPr txBox="1"/>
          <p:nvPr userDrawn="1"/>
        </p:nvSpPr>
        <p:spPr>
          <a:xfrm>
            <a:off x="11372849" y="6423669"/>
            <a:ext cx="298722" cy="269383"/>
          </a:xfrm>
          <a:prstGeom prst="rect">
            <a:avLst/>
          </a:prstGeom>
          <a:noFill/>
        </p:spPr>
        <p:txBody>
          <a:bodyPr wrap="square" lIns="0" tIns="0" rIns="0" bIns="0" rtlCol="0" anchor="ctr" anchorCtr="0">
            <a:noAutofit/>
          </a:bodyPr>
          <a:lstStyle/>
          <a:p>
            <a:pPr marL="0" marR="0" lvl="0" indent="0" algn="r" defTabSz="1088340" rtl="0" eaLnBrk="1" fontAlgn="auto" latinLnBrk="0" hangingPunct="1">
              <a:lnSpc>
                <a:spcPct val="100000"/>
              </a:lnSpc>
              <a:spcBef>
                <a:spcPts val="0"/>
              </a:spcBef>
              <a:spcAft>
                <a:spcPts val="0"/>
              </a:spcAft>
              <a:buClrTx/>
              <a:buSzTx/>
              <a:buFontTx/>
              <a:buNone/>
              <a:tabLst/>
              <a:defRPr/>
            </a:pPr>
            <a:fld id="{3BB745A9-307D-7A4A-B43D-4F1813E0F239}" type="slidenum">
              <a:rPr kumimoji="0" lang="en-US" sz="800" b="0" i="0" u="none" strike="noStrike" kern="1200" cap="none" spc="0" normalizeH="0" baseline="0" noProof="0" smtClean="0">
                <a:ln>
                  <a:noFill/>
                </a:ln>
                <a:solidFill>
                  <a:schemeClr val="bg2">
                    <a:lumMod val="75000"/>
                  </a:schemeClr>
                </a:solidFill>
                <a:effectLst/>
                <a:uLnTx/>
                <a:uFillTx/>
                <a:latin typeface="Calibri" panose="020F0502020204030204" pitchFamily="34" charset="0"/>
                <a:cs typeface="Calibri" panose="020F0502020204030204" pitchFamily="34" charset="0"/>
              </a:rPr>
              <a:pPr marL="0" marR="0" lvl="0" indent="0" algn="r" defTabSz="108834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chemeClr val="bg2">
                  <a:lumMod val="75000"/>
                </a:schemeClr>
              </a:solidFill>
              <a:effectLst/>
              <a:uLnTx/>
              <a:uFillTx/>
              <a:latin typeface="Calibri" panose="020F0502020204030204" pitchFamily="34" charset="0"/>
              <a:cs typeface="Calibri" panose="020F0502020204030204" pitchFamily="34" charset="0"/>
            </a:endParaRPr>
          </a:p>
        </p:txBody>
      </p:sp>
      <p:sp>
        <p:nvSpPr>
          <p:cNvPr id="12" name="Footer Placeholder 3">
            <a:extLst>
              <a:ext uri="{FF2B5EF4-FFF2-40B4-BE49-F238E27FC236}">
                <a16:creationId xmlns:a16="http://schemas.microsoft.com/office/drawing/2014/main" id="{4C84E3C7-E516-4BA9-AC4F-6BF1E5CE6C44}"/>
              </a:ext>
            </a:extLst>
          </p:cNvPr>
          <p:cNvSpPr>
            <a:spLocks noGrp="1"/>
          </p:cNvSpPr>
          <p:nvPr>
            <p:ph type="ftr" sz="quarter" idx="3"/>
          </p:nvPr>
        </p:nvSpPr>
        <p:spPr>
          <a:xfrm>
            <a:off x="3895724" y="6463172"/>
            <a:ext cx="7477125" cy="297962"/>
          </a:xfrm>
          <a:prstGeom prst="rect">
            <a:avLst/>
          </a:prstGeom>
          <a:noFill/>
        </p:spPr>
        <p:txBody>
          <a:bodyPr vert="horz" lIns="45720" tIns="36000" rIns="91440" bIns="45720" rtlCol="0" anchor="t" anchorCtr="0">
            <a:spAutoFit/>
          </a:bodyPr>
          <a:lstStyle>
            <a:lvl1pPr>
              <a:defRPr lang="en-US" sz="700" smtClean="0">
                <a:solidFill>
                  <a:schemeClr val="bg1">
                    <a:lumMod val="75000"/>
                  </a:schemeClr>
                </a:solidFill>
              </a:defRPr>
            </a:lvl1pPr>
          </a:lstStyle>
          <a:p>
            <a:r>
              <a:rPr lang="en-US"/>
              <a:t>To edit the footer text go to Insert &gt; Header &amp; Footer</a:t>
            </a:r>
          </a:p>
          <a:p>
            <a:r>
              <a:rPr lang="en-US"/>
              <a:t>Footer can span to two lines </a:t>
            </a:r>
          </a:p>
        </p:txBody>
      </p:sp>
    </p:spTree>
    <p:extLst>
      <p:ext uri="{BB962C8B-B14F-4D97-AF65-F5344CB8AC3E}">
        <p14:creationId xmlns:p14="http://schemas.microsoft.com/office/powerpoint/2010/main" val="114278184"/>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C6754CF-352F-437B-8C6A-248122E5637B}"/>
              </a:ext>
            </a:extLst>
          </p:cNvPr>
          <p:cNvSpPr>
            <a:spLocks noGrp="1"/>
          </p:cNvSpPr>
          <p:nvPr>
            <p:ph type="title"/>
          </p:nvPr>
        </p:nvSpPr>
        <p:spPr>
          <a:xfrm>
            <a:off x="542647" y="525546"/>
            <a:ext cx="11098490" cy="332399"/>
          </a:xfrm>
          <a:prstGeom prst="rect">
            <a:avLst/>
          </a:prstGeom>
        </p:spPr>
        <p:txBody>
          <a:bodyPr vert="horz" lIns="0" tIns="0" rIns="0" bIns="0" rtlCol="0" anchor="t">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DF4FBE46-2630-463B-AED4-3E505F871AA4}"/>
              </a:ext>
            </a:extLst>
          </p:cNvPr>
          <p:cNvSpPr>
            <a:spLocks noGrp="1"/>
          </p:cNvSpPr>
          <p:nvPr>
            <p:ph type="body" idx="1"/>
          </p:nvPr>
        </p:nvSpPr>
        <p:spPr>
          <a:xfrm>
            <a:off x="550863" y="1634949"/>
            <a:ext cx="11090275" cy="460851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Box 6">
            <a:extLst>
              <a:ext uri="{FF2B5EF4-FFF2-40B4-BE49-F238E27FC236}">
                <a16:creationId xmlns:a16="http://schemas.microsoft.com/office/drawing/2014/main" id="{EC729921-C016-0E4B-8F7D-F8645122E811}"/>
              </a:ext>
            </a:extLst>
          </p:cNvPr>
          <p:cNvSpPr txBox="1"/>
          <p:nvPr userDrawn="1"/>
        </p:nvSpPr>
        <p:spPr>
          <a:xfrm>
            <a:off x="11372849" y="6423669"/>
            <a:ext cx="298722" cy="269383"/>
          </a:xfrm>
          <a:prstGeom prst="rect">
            <a:avLst/>
          </a:prstGeom>
          <a:noFill/>
        </p:spPr>
        <p:txBody>
          <a:bodyPr wrap="square" lIns="0" tIns="0" rIns="0" bIns="0" rtlCol="0" anchor="ctr" anchorCtr="0">
            <a:noAutofit/>
          </a:bodyPr>
          <a:lstStyle/>
          <a:p>
            <a:pPr marL="0" marR="0" lvl="0" indent="0" algn="r" defTabSz="1088340" rtl="0" eaLnBrk="1" fontAlgn="auto" latinLnBrk="0" hangingPunct="1">
              <a:lnSpc>
                <a:spcPct val="100000"/>
              </a:lnSpc>
              <a:spcBef>
                <a:spcPts val="0"/>
              </a:spcBef>
              <a:spcAft>
                <a:spcPts val="0"/>
              </a:spcAft>
              <a:buClrTx/>
              <a:buSzTx/>
              <a:buFontTx/>
              <a:buNone/>
              <a:tabLst/>
              <a:defRPr/>
            </a:pPr>
            <a:fld id="{3BB745A9-307D-7A4A-B43D-4F1813E0F239}" type="slidenum">
              <a:rPr kumimoji="0" lang="en-US" sz="800" b="0" i="0" u="none" strike="noStrike" kern="1200" cap="none" spc="0" normalizeH="0" baseline="0" noProof="0" smtClean="0">
                <a:ln>
                  <a:noFill/>
                </a:ln>
                <a:solidFill>
                  <a:schemeClr val="bg2">
                    <a:lumMod val="75000"/>
                  </a:schemeClr>
                </a:solidFill>
                <a:effectLst/>
                <a:uLnTx/>
                <a:uFillTx/>
                <a:latin typeface="Calibri" panose="020F0502020204030204" pitchFamily="34" charset="0"/>
                <a:cs typeface="Calibri" panose="020F0502020204030204" pitchFamily="34" charset="0"/>
              </a:rPr>
              <a:pPr marL="0" marR="0" lvl="0" indent="0" algn="r" defTabSz="108834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chemeClr val="bg2">
                  <a:lumMod val="75000"/>
                </a:schemeClr>
              </a:solidFill>
              <a:effectLst/>
              <a:uLnTx/>
              <a:uFillTx/>
              <a:latin typeface="Calibri" panose="020F0502020204030204" pitchFamily="34" charset="0"/>
              <a:cs typeface="Calibri" panose="020F0502020204030204" pitchFamily="34" charset="0"/>
            </a:endParaRPr>
          </a:p>
        </p:txBody>
      </p:sp>
      <p:sp>
        <p:nvSpPr>
          <p:cNvPr id="8" name="Footer Placeholder 3">
            <a:extLst>
              <a:ext uri="{FF2B5EF4-FFF2-40B4-BE49-F238E27FC236}">
                <a16:creationId xmlns:a16="http://schemas.microsoft.com/office/drawing/2014/main" id="{2DCC4281-E878-004D-8A3D-6E53DB411584}"/>
              </a:ext>
            </a:extLst>
          </p:cNvPr>
          <p:cNvSpPr>
            <a:spLocks noGrp="1"/>
          </p:cNvSpPr>
          <p:nvPr>
            <p:ph type="ftr" sz="quarter" idx="3"/>
          </p:nvPr>
        </p:nvSpPr>
        <p:spPr>
          <a:xfrm>
            <a:off x="3895724" y="6463172"/>
            <a:ext cx="7477125" cy="297962"/>
          </a:xfrm>
          <a:prstGeom prst="rect">
            <a:avLst/>
          </a:prstGeom>
          <a:noFill/>
        </p:spPr>
        <p:txBody>
          <a:bodyPr vert="horz" lIns="45720" tIns="36000" rIns="91440" bIns="45720" rtlCol="0" anchor="t" anchorCtr="0">
            <a:spAutoFit/>
          </a:bodyPr>
          <a:lstStyle>
            <a:lvl1pPr>
              <a:defRPr lang="en-US" sz="700" smtClean="0">
                <a:solidFill>
                  <a:schemeClr val="bg1">
                    <a:lumMod val="75000"/>
                  </a:schemeClr>
                </a:solidFill>
              </a:defRPr>
            </a:lvl1pPr>
          </a:lstStyle>
          <a:p>
            <a:r>
              <a:rPr lang="en-US"/>
              <a:t>To edit the footer text go to Insert &gt; Header &amp; Footer</a:t>
            </a:r>
          </a:p>
          <a:p>
            <a:r>
              <a:rPr lang="en-US"/>
              <a:t>Footer can span to two lines </a:t>
            </a:r>
          </a:p>
        </p:txBody>
      </p:sp>
    </p:spTree>
    <p:extLst>
      <p:ext uri="{BB962C8B-B14F-4D97-AF65-F5344CB8AC3E}">
        <p14:creationId xmlns:p14="http://schemas.microsoft.com/office/powerpoint/2010/main" val="3892070811"/>
      </p:ext>
    </p:extLst>
  </p:cSld>
  <p:clrMap bg1="lt1" tx1="dk1" bg2="lt2" tx2="dk2" accent1="accent1" accent2="accent2" accent3="accent3" accent4="accent4" accent5="accent5" accent6="accent6" hlink="hlink" folHlink="folHlink"/>
  <p:sldLayoutIdLst>
    <p:sldLayoutId id="2147483692" r:id="rId1"/>
    <p:sldLayoutId id="2147483659" r:id="rId2"/>
    <p:sldLayoutId id="2147483676" r:id="rId3"/>
    <p:sldLayoutId id="2147483693" r:id="rId4"/>
    <p:sldLayoutId id="2147483694" r:id="rId5"/>
    <p:sldLayoutId id="2147484065" r:id="rId6"/>
    <p:sldLayoutId id="2147484062" r:id="rId7"/>
    <p:sldLayoutId id="2147484063" r:id="rId8"/>
    <p:sldLayoutId id="2147484064" r:id="rId9"/>
  </p:sldLayoutIdLst>
  <p:hf sldNum="0" hdr="0" ftr="0" dt="0"/>
  <p:txStyles>
    <p:titleStyle>
      <a:lvl1pPr algn="l" defTabSz="914400" rtl="0" eaLnBrk="1" latinLnBrk="0" hangingPunct="1">
        <a:lnSpc>
          <a:spcPct val="90000"/>
        </a:lnSpc>
        <a:spcBef>
          <a:spcPct val="0"/>
        </a:spcBef>
        <a:buNone/>
        <a:defRPr sz="2400" b="1" i="0" kern="1200" cap="all" baseline="0">
          <a:solidFill>
            <a:schemeClr val="tx2"/>
          </a:solidFill>
          <a:latin typeface="Century Gothic" panose="020B0502020202020204" pitchFamily="34" charset="0"/>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200" b="0" i="0" kern="1200">
          <a:solidFill>
            <a:schemeClr val="tx1"/>
          </a:solidFill>
          <a:latin typeface="Aptos" panose="020B0004020202020204" pitchFamily="34" charset="0"/>
          <a:ea typeface="Verdana" panose="020B0604030504040204" pitchFamily="34" charset="0"/>
          <a:cs typeface="Calibri" panose="020F0502020204030204" pitchFamily="34" charset="0"/>
        </a:defRPr>
      </a:lvl1pPr>
      <a:lvl2pPr marL="0" indent="0" algn="l" defTabSz="914400" rtl="0" eaLnBrk="1" latinLnBrk="0" hangingPunct="1">
        <a:lnSpc>
          <a:spcPct val="100000"/>
        </a:lnSpc>
        <a:spcBef>
          <a:spcPts val="300"/>
        </a:spcBef>
        <a:buFont typeface="Arial Narrow" panose="020B0606020202030204" pitchFamily="34" charset="0"/>
        <a:buNone/>
        <a:defRPr sz="1200" b="0" i="0" kern="1200">
          <a:solidFill>
            <a:schemeClr val="tx1"/>
          </a:solidFill>
          <a:latin typeface="Aptos" panose="020B0004020202020204" pitchFamily="34" charset="0"/>
          <a:ea typeface="Verdana" panose="020B0604030504040204" pitchFamily="34" charset="0"/>
          <a:cs typeface="Calibri" panose="020F0502020204030204" pitchFamily="34" charset="0"/>
        </a:defRPr>
      </a:lvl2pPr>
      <a:lvl3pPr marL="180975" indent="-180975" algn="l" defTabSz="914400" rtl="0" eaLnBrk="1" latinLnBrk="0" hangingPunct="1">
        <a:lnSpc>
          <a:spcPct val="100000"/>
        </a:lnSpc>
        <a:spcBef>
          <a:spcPts val="300"/>
        </a:spcBef>
        <a:buClr>
          <a:schemeClr val="accent1"/>
        </a:buClr>
        <a:buFont typeface="Arial" panose="020B0604020202020204" pitchFamily="34" charset="0"/>
        <a:buChar char="•"/>
        <a:defRPr sz="1200" b="0" i="0" kern="1200">
          <a:solidFill>
            <a:schemeClr val="tx1"/>
          </a:solidFill>
          <a:latin typeface="Aptos" panose="020B0004020202020204" pitchFamily="34" charset="0"/>
          <a:ea typeface="Verdana" panose="020B0604030504040204" pitchFamily="34" charset="0"/>
          <a:cs typeface="Calibri" panose="020F0502020204030204" pitchFamily="34" charset="0"/>
        </a:defRPr>
      </a:lvl3pPr>
      <a:lvl4pPr marL="361950"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tx1"/>
          </a:solidFill>
          <a:latin typeface="Aptos" panose="020B0004020202020204" pitchFamily="34" charset="0"/>
          <a:ea typeface="Verdana" panose="020B0604030504040204" pitchFamily="34" charset="0"/>
          <a:cs typeface="Calibri" panose="020F0502020204030204" pitchFamily="34" charset="0"/>
        </a:defRPr>
      </a:lvl4pPr>
      <a:lvl5pPr marL="542925" indent="-180975" algn="l" defTabSz="914400" rtl="0" eaLnBrk="1" latinLnBrk="0" hangingPunct="1">
        <a:lnSpc>
          <a:spcPct val="100000"/>
        </a:lnSpc>
        <a:spcBef>
          <a:spcPts val="300"/>
        </a:spcBef>
        <a:buClr>
          <a:schemeClr val="accent1"/>
        </a:buClr>
        <a:buFont typeface="Arial" panose="020B0604020202020204" pitchFamily="34" charset="0"/>
        <a:buChar char="•"/>
        <a:defRPr sz="1100" b="0" i="0" kern="1200">
          <a:solidFill>
            <a:schemeClr val="tx1"/>
          </a:solidFill>
          <a:latin typeface="Aptos" panose="020B0004020202020204" pitchFamily="34" charset="0"/>
          <a:ea typeface="Verdana" panose="020B0604030504040204" pitchFamily="34" charset="0"/>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29">
          <p15:clr>
            <a:srgbClr val="F26B43"/>
          </p15:clr>
        </p15:guide>
        <p15:guide id="2" pos="347">
          <p15:clr>
            <a:srgbClr val="F26B43"/>
          </p15:clr>
        </p15:guide>
        <p15:guide id="3" pos="7333">
          <p15:clr>
            <a:srgbClr val="F26B43"/>
          </p15:clr>
        </p15:guide>
        <p15:guide id="4" orient="horz" pos="102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11.svg"/><Relationship Id="rId7" Type="http://schemas.openxmlformats.org/officeDocument/2006/relationships/image" Target="../media/image15.svg"/><Relationship Id="rId2" Type="http://schemas.openxmlformats.org/officeDocument/2006/relationships/image" Target="../media/image10.png"/><Relationship Id="rId1" Type="http://schemas.openxmlformats.org/officeDocument/2006/relationships/slideLayout" Target="../slideLayouts/slideLayout5.xml"/><Relationship Id="rId6" Type="http://schemas.openxmlformats.org/officeDocument/2006/relationships/image" Target="../media/image14.png"/><Relationship Id="rId5" Type="http://schemas.openxmlformats.org/officeDocument/2006/relationships/image" Target="../media/image13.svg"/><Relationship Id="rId4" Type="http://schemas.openxmlformats.org/officeDocument/2006/relationships/image" Target="../media/image12.png"/></Relationships>
</file>

<file path=ppt/slides/_rels/slide3.xml.rels><?xml version="1.0" encoding="UTF-8" standalone="yes"?>
<Relationships xmlns="http://schemas.openxmlformats.org/package/2006/relationships"><Relationship Id="rId8" Type="http://schemas.openxmlformats.org/officeDocument/2006/relationships/image" Target="../media/image21.svg"/><Relationship Id="rId13" Type="http://schemas.openxmlformats.org/officeDocument/2006/relationships/image" Target="../media/image26.png"/><Relationship Id="rId18" Type="http://schemas.openxmlformats.org/officeDocument/2006/relationships/image" Target="../media/image31.svg"/><Relationship Id="rId3" Type="http://schemas.openxmlformats.org/officeDocument/2006/relationships/image" Target="../media/image16.png"/><Relationship Id="rId7" Type="http://schemas.openxmlformats.org/officeDocument/2006/relationships/image" Target="../media/image20.png"/><Relationship Id="rId12" Type="http://schemas.openxmlformats.org/officeDocument/2006/relationships/image" Target="../media/image25.svg"/><Relationship Id="rId17" Type="http://schemas.openxmlformats.org/officeDocument/2006/relationships/image" Target="../media/image30.png"/><Relationship Id="rId2" Type="http://schemas.openxmlformats.org/officeDocument/2006/relationships/notesSlide" Target="../notesSlides/notesSlide2.xml"/><Relationship Id="rId16" Type="http://schemas.openxmlformats.org/officeDocument/2006/relationships/image" Target="../media/image29.svg"/><Relationship Id="rId1" Type="http://schemas.openxmlformats.org/officeDocument/2006/relationships/slideLayout" Target="../slideLayouts/slideLayout3.xml"/><Relationship Id="rId6" Type="http://schemas.openxmlformats.org/officeDocument/2006/relationships/image" Target="../media/image19.svg"/><Relationship Id="rId11" Type="http://schemas.openxmlformats.org/officeDocument/2006/relationships/image" Target="../media/image24.png"/><Relationship Id="rId5" Type="http://schemas.openxmlformats.org/officeDocument/2006/relationships/image" Target="../media/image18.png"/><Relationship Id="rId15" Type="http://schemas.openxmlformats.org/officeDocument/2006/relationships/image" Target="../media/image28.png"/><Relationship Id="rId10" Type="http://schemas.openxmlformats.org/officeDocument/2006/relationships/image" Target="../media/image23.svg"/><Relationship Id="rId4" Type="http://schemas.openxmlformats.org/officeDocument/2006/relationships/image" Target="../media/image17.svg"/><Relationship Id="rId9" Type="http://schemas.openxmlformats.org/officeDocument/2006/relationships/image" Target="../media/image22.png"/><Relationship Id="rId14" Type="http://schemas.openxmlformats.org/officeDocument/2006/relationships/image" Target="../media/image27.svg"/></Relationships>
</file>

<file path=ppt/slides/_rels/slide4.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slideLayout" Target="../slideLayouts/slideLayout3.xml"/><Relationship Id="rId1" Type="http://schemas.openxmlformats.org/officeDocument/2006/relationships/tags" Target="../tags/tag1.xml"/><Relationship Id="rId6" Type="http://schemas.openxmlformats.org/officeDocument/2006/relationships/diagramColors" Target="../diagrams/colors1.xml"/><Relationship Id="rId5" Type="http://schemas.openxmlformats.org/officeDocument/2006/relationships/diagramQuickStyle" Target="../diagrams/quickStyle1.xml"/><Relationship Id="rId10" Type="http://schemas.openxmlformats.org/officeDocument/2006/relationships/image" Target="../media/image34.png"/><Relationship Id="rId4" Type="http://schemas.openxmlformats.org/officeDocument/2006/relationships/diagramLayout" Target="../diagrams/layout1.xml"/><Relationship Id="rId9" Type="http://schemas.openxmlformats.org/officeDocument/2006/relationships/image" Target="../media/image33.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98D9F6B3-34C8-31C6-6EAC-E6EAABFEB20E}"/>
              </a:ext>
            </a:extLst>
          </p:cNvPr>
          <p:cNvSpPr>
            <a:spLocks noGrp="1"/>
          </p:cNvSpPr>
          <p:nvPr>
            <p:ph type="body" sz="quarter" idx="14"/>
          </p:nvPr>
        </p:nvSpPr>
        <p:spPr>
          <a:xfrm>
            <a:off x="1085548" y="5659295"/>
            <a:ext cx="7360478" cy="307777"/>
          </a:xfrm>
        </p:spPr>
        <p:txBody>
          <a:bodyPr>
            <a:noAutofit/>
          </a:bodyPr>
          <a:lstStyle/>
          <a:p>
            <a:pPr algn="l"/>
            <a:r>
              <a:rPr lang="en-GB" sz="1800" dirty="0"/>
              <a:t>LEVERAGE AI TO EXPLORE PROCESS LANDSCAPE</a:t>
            </a:r>
          </a:p>
        </p:txBody>
      </p:sp>
      <p:sp>
        <p:nvSpPr>
          <p:cNvPr id="8" name="Title 7">
            <a:extLst>
              <a:ext uri="{FF2B5EF4-FFF2-40B4-BE49-F238E27FC236}">
                <a16:creationId xmlns:a16="http://schemas.microsoft.com/office/drawing/2014/main" id="{534A39DF-839D-BB76-CC4E-B315C3F87DD5}"/>
              </a:ext>
            </a:extLst>
          </p:cNvPr>
          <p:cNvSpPr>
            <a:spLocks noGrp="1"/>
          </p:cNvSpPr>
          <p:nvPr>
            <p:ph type="title"/>
          </p:nvPr>
        </p:nvSpPr>
        <p:spPr>
          <a:xfrm>
            <a:off x="1058813" y="4706351"/>
            <a:ext cx="5303311" cy="769441"/>
          </a:xfrm>
        </p:spPr>
        <p:txBody>
          <a:bodyPr/>
          <a:lstStyle/>
          <a:p>
            <a:r>
              <a:rPr lang="en-US" dirty="0"/>
              <a:t>DATA BRICKS HACKATHON</a:t>
            </a:r>
          </a:p>
        </p:txBody>
      </p:sp>
      <p:cxnSp>
        <p:nvCxnSpPr>
          <p:cNvPr id="2" name="Straight Connector 1">
            <a:extLst>
              <a:ext uri="{FF2B5EF4-FFF2-40B4-BE49-F238E27FC236}">
                <a16:creationId xmlns:a16="http://schemas.microsoft.com/office/drawing/2014/main" id="{0AEBFE15-3B3B-53D6-4659-21FD771F38B7}"/>
              </a:ext>
            </a:extLst>
          </p:cNvPr>
          <p:cNvCxnSpPr>
            <a:cxnSpLocks/>
          </p:cNvCxnSpPr>
          <p:nvPr/>
        </p:nvCxnSpPr>
        <p:spPr>
          <a:xfrm>
            <a:off x="1085548" y="5342537"/>
            <a:ext cx="6145912"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24978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567E9-4620-9E71-D72C-BE3CC2C2DB7D}"/>
              </a:ext>
            </a:extLst>
          </p:cNvPr>
          <p:cNvSpPr>
            <a:spLocks noGrp="1"/>
          </p:cNvSpPr>
          <p:nvPr>
            <p:ph type="title"/>
          </p:nvPr>
        </p:nvSpPr>
        <p:spPr/>
        <p:txBody>
          <a:bodyPr/>
          <a:lstStyle/>
          <a:p>
            <a:r>
              <a:rPr lang="en-US" dirty="0"/>
              <a:t>Our Understanding</a:t>
            </a:r>
            <a:endParaRPr lang="en-GB" dirty="0"/>
          </a:p>
        </p:txBody>
      </p:sp>
      <p:sp>
        <p:nvSpPr>
          <p:cNvPr id="3" name="TextBox 57">
            <a:extLst>
              <a:ext uri="{FF2B5EF4-FFF2-40B4-BE49-F238E27FC236}">
                <a16:creationId xmlns:a16="http://schemas.microsoft.com/office/drawing/2014/main" id="{DE66B1AE-0194-EB84-A380-277547251C3B}"/>
              </a:ext>
            </a:extLst>
          </p:cNvPr>
          <p:cNvSpPr txBox="1"/>
          <p:nvPr/>
        </p:nvSpPr>
        <p:spPr>
          <a:xfrm>
            <a:off x="1077694" y="6240084"/>
            <a:ext cx="10028903" cy="369332"/>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1" dirty="0">
                <a:solidFill>
                  <a:schemeClr val="bg1"/>
                </a:solidFill>
              </a:rPr>
              <a:t>Advanced AI capabilities enable this challenge to be addressed with unparalleled efficiency.</a:t>
            </a:r>
            <a:endParaRPr lang="en-US" b="1" dirty="0">
              <a:solidFill>
                <a:schemeClr val="bg1"/>
              </a:solidFill>
              <a:latin typeface="Aptos" panose="020B0004020202020204" pitchFamily="34" charset="0"/>
            </a:endParaRPr>
          </a:p>
        </p:txBody>
      </p:sp>
      <p:grpSp>
        <p:nvGrpSpPr>
          <p:cNvPr id="29" name="Group 28">
            <a:extLst>
              <a:ext uri="{FF2B5EF4-FFF2-40B4-BE49-F238E27FC236}">
                <a16:creationId xmlns:a16="http://schemas.microsoft.com/office/drawing/2014/main" id="{732E358F-0499-E87C-F3D8-FB0492555EEB}"/>
              </a:ext>
            </a:extLst>
          </p:cNvPr>
          <p:cNvGrpSpPr/>
          <p:nvPr/>
        </p:nvGrpSpPr>
        <p:grpSpPr>
          <a:xfrm>
            <a:off x="387096" y="3399827"/>
            <a:ext cx="3547872" cy="1877023"/>
            <a:chOff x="542647" y="3333152"/>
            <a:chExt cx="3547872" cy="1877023"/>
          </a:xfrm>
        </p:grpSpPr>
        <p:pic>
          <p:nvPicPr>
            <p:cNvPr id="12" name="Graphic 11">
              <a:extLst>
                <a:ext uri="{FF2B5EF4-FFF2-40B4-BE49-F238E27FC236}">
                  <a16:creationId xmlns:a16="http://schemas.microsoft.com/office/drawing/2014/main" id="{7AB2F620-EE55-2D7B-4763-225D9D965041}"/>
                </a:ext>
              </a:extLst>
            </p:cNvPr>
            <p:cNvPicPr>
              <a:picLocks/>
            </p:cNvPicPr>
            <p:nvPr/>
          </p:nvPicPr>
          <p:blipFill>
            <a:blip r:embed="rId2">
              <a:extLst>
                <a:ext uri="{96DAC541-7B7A-43D3-8B79-37D633B846F1}">
                  <asvg:svgBlip xmlns:asvg="http://schemas.microsoft.com/office/drawing/2016/SVG/main" r:embed="rId3"/>
                </a:ext>
              </a:extLst>
            </a:blip>
            <a:srcRect/>
            <a:stretch/>
          </p:blipFill>
          <p:spPr>
            <a:xfrm>
              <a:off x="3411548" y="3889354"/>
              <a:ext cx="546221" cy="546221"/>
            </a:xfrm>
            <a:prstGeom prst="rect">
              <a:avLst/>
            </a:prstGeom>
          </p:spPr>
        </p:pic>
        <p:sp>
          <p:nvSpPr>
            <p:cNvPr id="13" name="TextBox 12">
              <a:extLst>
                <a:ext uri="{FF2B5EF4-FFF2-40B4-BE49-F238E27FC236}">
                  <a16:creationId xmlns:a16="http://schemas.microsoft.com/office/drawing/2014/main" id="{8764EE55-D5F0-019E-AB86-E972BD79CC59}"/>
                </a:ext>
              </a:extLst>
            </p:cNvPr>
            <p:cNvSpPr txBox="1"/>
            <p:nvPr/>
          </p:nvSpPr>
          <p:spPr>
            <a:xfrm>
              <a:off x="816757" y="3517867"/>
              <a:ext cx="2592908" cy="430887"/>
            </a:xfrm>
            <a:prstGeom prst="rect">
              <a:avLst/>
            </a:prstGeom>
            <a:noFill/>
            <a:ln>
              <a:noFill/>
            </a:ln>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Determining Inquiries for Background Information</a:t>
              </a:r>
              <a:endParaRPr kumimoji="0" lang="en-US" sz="1400" b="1" i="0" u="none" strike="noStrike" kern="1200" cap="none" spc="0" normalizeH="0" baseline="0" noProof="0" dirty="0">
                <a:ln>
                  <a:noFill/>
                </a:ln>
                <a:solidFill>
                  <a:schemeClr val="tx2"/>
                </a:solidFill>
                <a:effectLst/>
                <a:uLnTx/>
                <a:uFillTx/>
                <a:ea typeface="+mn-ea"/>
                <a:cs typeface="+mn-cs"/>
              </a:endParaRPr>
            </a:p>
          </p:txBody>
        </p:sp>
        <p:sp>
          <p:nvSpPr>
            <p:cNvPr id="14" name="Rounded Rectangle 20">
              <a:extLst>
                <a:ext uri="{FF2B5EF4-FFF2-40B4-BE49-F238E27FC236}">
                  <a16:creationId xmlns:a16="http://schemas.microsoft.com/office/drawing/2014/main" id="{42F86E27-8138-AFDD-690C-6AE45F9E522B}"/>
                </a:ext>
              </a:extLst>
            </p:cNvPr>
            <p:cNvSpPr/>
            <p:nvPr/>
          </p:nvSpPr>
          <p:spPr>
            <a:xfrm>
              <a:off x="542647" y="3333152"/>
              <a:ext cx="3547872" cy="1877023"/>
            </a:xfrm>
            <a:prstGeom prst="roundRect">
              <a:avLst>
                <a:gd name="adj" fmla="val 1087"/>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5" name="TextBox 14">
              <a:extLst>
                <a:ext uri="{FF2B5EF4-FFF2-40B4-BE49-F238E27FC236}">
                  <a16:creationId xmlns:a16="http://schemas.microsoft.com/office/drawing/2014/main" id="{09FCDAD7-CEDD-6F47-9FA8-791DDD3EAEB0}"/>
                </a:ext>
              </a:extLst>
            </p:cNvPr>
            <p:cNvSpPr txBox="1"/>
            <p:nvPr/>
          </p:nvSpPr>
          <p:spPr>
            <a:xfrm>
              <a:off x="816758" y="4011411"/>
              <a:ext cx="2402756" cy="1107996"/>
            </a:xfrm>
            <a:prstGeom prst="rect">
              <a:avLst/>
            </a:prstGeom>
            <a:noFill/>
            <a:ln>
              <a:noFill/>
            </a:ln>
          </p:spPr>
          <p:txBody>
            <a:bodyPr wrap="square" lIns="0" tIns="0" rIns="0" bIns="0" rtlCol="0" anchor="t">
              <a:spAutoFit/>
            </a:bodyPr>
            <a:lstStyle/>
            <a:p>
              <a:endParaRPr lang="en-US" sz="1200" dirty="0"/>
            </a:p>
            <a:p>
              <a:r>
                <a:rPr lang="en-US" sz="1200" dirty="0"/>
                <a:t>Identify where and how background information is obtained for various lending products, uncovering chances to simplify and merge these processes.</a:t>
              </a:r>
            </a:p>
          </p:txBody>
        </p:sp>
      </p:grpSp>
      <p:sp>
        <p:nvSpPr>
          <p:cNvPr id="25" name="Freeform 3">
            <a:extLst>
              <a:ext uri="{FF2B5EF4-FFF2-40B4-BE49-F238E27FC236}">
                <a16:creationId xmlns:a16="http://schemas.microsoft.com/office/drawing/2014/main" id="{54B509D5-796F-EC92-EF33-03C10556238E}"/>
              </a:ext>
            </a:extLst>
          </p:cNvPr>
          <p:cNvSpPr/>
          <p:nvPr/>
        </p:nvSpPr>
        <p:spPr>
          <a:xfrm>
            <a:off x="4515147" y="2769838"/>
            <a:ext cx="3161707" cy="543136"/>
          </a:xfrm>
          <a:custGeom>
            <a:avLst/>
            <a:gdLst>
              <a:gd name="connsiteX0" fmla="*/ 0 w 5974080"/>
              <a:gd name="connsiteY0" fmla="*/ 88562 h 531360"/>
              <a:gd name="connsiteX1" fmla="*/ 88562 w 5974080"/>
              <a:gd name="connsiteY1" fmla="*/ 0 h 531360"/>
              <a:gd name="connsiteX2" fmla="*/ 5885518 w 5974080"/>
              <a:gd name="connsiteY2" fmla="*/ 0 h 531360"/>
              <a:gd name="connsiteX3" fmla="*/ 5974080 w 5974080"/>
              <a:gd name="connsiteY3" fmla="*/ 88562 h 531360"/>
              <a:gd name="connsiteX4" fmla="*/ 5974080 w 5974080"/>
              <a:gd name="connsiteY4" fmla="*/ 442798 h 531360"/>
              <a:gd name="connsiteX5" fmla="*/ 5885518 w 5974080"/>
              <a:gd name="connsiteY5" fmla="*/ 531360 h 531360"/>
              <a:gd name="connsiteX6" fmla="*/ 88562 w 5974080"/>
              <a:gd name="connsiteY6" fmla="*/ 531360 h 531360"/>
              <a:gd name="connsiteX7" fmla="*/ 0 w 5974080"/>
              <a:gd name="connsiteY7" fmla="*/ 442798 h 531360"/>
              <a:gd name="connsiteX8" fmla="*/ 0 w 5974080"/>
              <a:gd name="connsiteY8" fmla="*/ 88562 h 531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74080" h="531360">
                <a:moveTo>
                  <a:pt x="0" y="88562"/>
                </a:moveTo>
                <a:cubicBezTo>
                  <a:pt x="0" y="39651"/>
                  <a:pt x="39651" y="0"/>
                  <a:pt x="88562" y="0"/>
                </a:cubicBezTo>
                <a:lnTo>
                  <a:pt x="5885518" y="0"/>
                </a:lnTo>
                <a:cubicBezTo>
                  <a:pt x="5934429" y="0"/>
                  <a:pt x="5974080" y="39651"/>
                  <a:pt x="5974080" y="88562"/>
                </a:cubicBezTo>
                <a:lnTo>
                  <a:pt x="5974080" y="442798"/>
                </a:lnTo>
                <a:cubicBezTo>
                  <a:pt x="5974080" y="491709"/>
                  <a:pt x="5934429" y="531360"/>
                  <a:pt x="5885518" y="531360"/>
                </a:cubicBezTo>
                <a:lnTo>
                  <a:pt x="88562" y="531360"/>
                </a:lnTo>
                <a:cubicBezTo>
                  <a:pt x="39651" y="531360"/>
                  <a:pt x="0" y="491709"/>
                  <a:pt x="0" y="442798"/>
                </a:cubicBezTo>
                <a:lnTo>
                  <a:pt x="0" y="88562"/>
                </a:lnTo>
                <a:close/>
              </a:path>
            </a:pathLst>
          </a:custGeom>
          <a:noFill/>
          <a:ln w="12700" cap="flat" cmpd="sng" algn="ctr">
            <a:noFill/>
            <a:prstDash val="solid"/>
            <a:miter lim="800000"/>
          </a:ln>
          <a:effectLst/>
        </p:spPr>
        <p:txBody>
          <a:bodyPr spcFirstLastPara="0" vert="horz" wrap="square" lIns="218847" tIns="22549" rIns="218847" bIns="22549" numCol="1" spcCol="1270" anchor="ctr" anchorCtr="0">
            <a:noAutofit/>
          </a:bodyPr>
          <a:lstStyle/>
          <a:p>
            <a:pPr marL="0" marR="0" lvl="0" indent="0" algn="ctr" defTabSz="695523" rtl="0" eaLnBrk="0" fontAlgn="base" latinLnBrk="0" hangingPunct="0">
              <a:lnSpc>
                <a:spcPct val="90000"/>
              </a:lnSpc>
              <a:spcBef>
                <a:spcPct val="0"/>
              </a:spcBef>
              <a:spcAft>
                <a:spcPct val="35000"/>
              </a:spcAft>
              <a:buClrTx/>
              <a:buSzTx/>
              <a:buFontTx/>
              <a:buNone/>
              <a:tabLst/>
              <a:defRPr/>
            </a:pPr>
            <a:r>
              <a:rPr kumimoji="0" lang="en-US" b="1" i="0" u="sng" strike="noStrike" kern="0" cap="none" spc="0" normalizeH="0" baseline="0" noProof="0" dirty="0">
                <a:ln>
                  <a:noFill/>
                </a:ln>
                <a:solidFill>
                  <a:srgbClr val="242852"/>
                </a:solidFill>
                <a:effectLst/>
                <a:uLnTx/>
                <a:uFillTx/>
                <a:ea typeface="ＭＳ Ｐゴシック"/>
                <a:cs typeface="Arial" panose="020B0604020202020204" pitchFamily="34" charset="0"/>
              </a:rPr>
              <a:t>Sample Desired Insights</a:t>
            </a:r>
          </a:p>
        </p:txBody>
      </p:sp>
      <p:grpSp>
        <p:nvGrpSpPr>
          <p:cNvPr id="30" name="Group 29">
            <a:extLst>
              <a:ext uri="{FF2B5EF4-FFF2-40B4-BE49-F238E27FC236}">
                <a16:creationId xmlns:a16="http://schemas.microsoft.com/office/drawing/2014/main" id="{6EFE9AFB-B3BD-8624-2B04-D3505B9D7D96}"/>
              </a:ext>
            </a:extLst>
          </p:cNvPr>
          <p:cNvGrpSpPr/>
          <p:nvPr/>
        </p:nvGrpSpPr>
        <p:grpSpPr>
          <a:xfrm>
            <a:off x="4322064" y="3399827"/>
            <a:ext cx="3547872" cy="1877023"/>
            <a:chOff x="4504630" y="3333152"/>
            <a:chExt cx="3547872" cy="1877023"/>
          </a:xfrm>
        </p:grpSpPr>
        <p:sp>
          <p:nvSpPr>
            <p:cNvPr id="18" name="TextBox 17">
              <a:extLst>
                <a:ext uri="{FF2B5EF4-FFF2-40B4-BE49-F238E27FC236}">
                  <a16:creationId xmlns:a16="http://schemas.microsoft.com/office/drawing/2014/main" id="{29033DE6-66CF-6CC0-032D-526E1EBCA668}"/>
                </a:ext>
              </a:extLst>
            </p:cNvPr>
            <p:cNvSpPr txBox="1"/>
            <p:nvPr/>
          </p:nvSpPr>
          <p:spPr>
            <a:xfrm>
              <a:off x="4778740" y="3517867"/>
              <a:ext cx="2592908" cy="430887"/>
            </a:xfrm>
            <a:prstGeom prst="rect">
              <a:avLst/>
            </a:prstGeom>
            <a:noFill/>
            <a:ln>
              <a:noFill/>
            </a:ln>
          </p:spPr>
          <p:txBody>
            <a:bodyPr wrap="square" lIns="0" tIns="0" rIns="0" bIns="0" rtlCol="0" anchor="t">
              <a:spAutoFit/>
            </a:bodyPr>
            <a:lstStyle/>
            <a:p>
              <a:pPr>
                <a:defRPr/>
              </a:pPr>
              <a:r>
                <a:rPr lang="en-US" sz="1400" dirty="0"/>
                <a:t>Determining Manual Control Systems</a:t>
              </a:r>
              <a:endParaRPr lang="en-US" sz="1400" b="1" dirty="0">
                <a:solidFill>
                  <a:schemeClr val="tx2"/>
                </a:solidFill>
                <a:cs typeface="Calibri"/>
              </a:endParaRPr>
            </a:p>
          </p:txBody>
        </p:sp>
        <p:sp>
          <p:nvSpPr>
            <p:cNvPr id="19" name="Rounded Rectangle 20">
              <a:extLst>
                <a:ext uri="{FF2B5EF4-FFF2-40B4-BE49-F238E27FC236}">
                  <a16:creationId xmlns:a16="http://schemas.microsoft.com/office/drawing/2014/main" id="{6F5F2E81-6F7E-0FC1-825C-CBEF689F6728}"/>
                </a:ext>
              </a:extLst>
            </p:cNvPr>
            <p:cNvSpPr/>
            <p:nvPr/>
          </p:nvSpPr>
          <p:spPr>
            <a:xfrm>
              <a:off x="4504630" y="3333152"/>
              <a:ext cx="3547872" cy="1877023"/>
            </a:xfrm>
            <a:prstGeom prst="roundRect">
              <a:avLst>
                <a:gd name="adj" fmla="val 1087"/>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E5857BE1-7F47-EB38-B863-8C3DA37EFC60}"/>
                </a:ext>
              </a:extLst>
            </p:cNvPr>
            <p:cNvSpPr txBox="1"/>
            <p:nvPr/>
          </p:nvSpPr>
          <p:spPr>
            <a:xfrm>
              <a:off x="4778741" y="4011411"/>
              <a:ext cx="2353776" cy="923330"/>
            </a:xfrm>
            <a:prstGeom prst="rect">
              <a:avLst/>
            </a:prstGeom>
            <a:noFill/>
            <a:ln>
              <a:noFill/>
            </a:ln>
          </p:spPr>
          <p:txBody>
            <a:bodyPr wrap="square" lIns="0" tIns="0" rIns="0" bIns="0" rtlCol="0" anchor="t">
              <a:spAutoFit/>
            </a:bodyPr>
            <a:lstStyle/>
            <a:p>
              <a:pPr marL="0" marR="0" lvl="0" indent="0" algn="l" defTabSz="844083" rtl="0" eaLnBrk="1" fontAlgn="auto" latinLnBrk="0" hangingPunct="1">
                <a:lnSpc>
                  <a:spcPct val="100000"/>
                </a:lnSpc>
                <a:spcBef>
                  <a:spcPts val="554"/>
                </a:spcBef>
                <a:spcAft>
                  <a:spcPts val="0"/>
                </a:spcAft>
                <a:buClrTx/>
                <a:buSzTx/>
                <a:buFontTx/>
                <a:buNone/>
                <a:tabLst/>
                <a:defRPr/>
              </a:pPr>
              <a:r>
                <a:rPr lang="en-US" sz="1200" dirty="0"/>
                <a:t>Separate manual control processes within Consumer Lending areas to pinpoint key candidates for automation, creating opportunities to enhance operational efficiency.</a:t>
              </a:r>
              <a:endParaRPr kumimoji="0" lang="en-US" sz="1200" b="0" i="0" u="none" strike="noStrike" kern="1200" cap="none" spc="0" normalizeH="0" baseline="0" noProof="0" dirty="0">
                <a:ln>
                  <a:noFill/>
                </a:ln>
                <a:solidFill>
                  <a:prstClr val="black">
                    <a:lumMod val="75000"/>
                    <a:lumOff val="25000"/>
                  </a:prstClr>
                </a:solidFill>
                <a:effectLst/>
                <a:uLnTx/>
                <a:uFillTx/>
                <a:latin typeface="Calibri"/>
                <a:ea typeface="+mn-ea"/>
                <a:cs typeface="+mn-cs"/>
              </a:endParaRPr>
            </a:p>
          </p:txBody>
        </p:sp>
        <p:pic>
          <p:nvPicPr>
            <p:cNvPr id="26" name="Graphic 25">
              <a:extLst>
                <a:ext uri="{FF2B5EF4-FFF2-40B4-BE49-F238E27FC236}">
                  <a16:creationId xmlns:a16="http://schemas.microsoft.com/office/drawing/2014/main" id="{47B76220-D64E-7FEA-D6C4-FD2B2E449034}"/>
                </a:ext>
              </a:extLst>
            </p:cNvPr>
            <p:cNvPicPr>
              <a:picLocks/>
            </p:cNvPicPr>
            <p:nvPr/>
          </p:nvPicPr>
          <p:blipFill>
            <a:blip r:embed="rId4">
              <a:extLst>
                <a:ext uri="{96DAC541-7B7A-43D3-8B79-37D633B846F1}">
                  <asvg:svgBlip xmlns:asvg="http://schemas.microsoft.com/office/drawing/2016/SVG/main" r:embed="rId5"/>
                </a:ext>
              </a:extLst>
            </a:blip>
            <a:stretch>
              <a:fillRect/>
            </a:stretch>
          </p:blipFill>
          <p:spPr>
            <a:xfrm>
              <a:off x="7374540" y="3889354"/>
              <a:ext cx="548640" cy="548640"/>
            </a:xfrm>
            <a:prstGeom prst="rect">
              <a:avLst/>
            </a:prstGeom>
          </p:spPr>
        </p:pic>
      </p:grpSp>
      <p:grpSp>
        <p:nvGrpSpPr>
          <p:cNvPr id="31" name="Group 30">
            <a:extLst>
              <a:ext uri="{FF2B5EF4-FFF2-40B4-BE49-F238E27FC236}">
                <a16:creationId xmlns:a16="http://schemas.microsoft.com/office/drawing/2014/main" id="{FF2F41AB-4E6F-D3D9-9D52-828FB97F235D}"/>
              </a:ext>
            </a:extLst>
          </p:cNvPr>
          <p:cNvGrpSpPr/>
          <p:nvPr/>
        </p:nvGrpSpPr>
        <p:grpSpPr>
          <a:xfrm>
            <a:off x="8257032" y="3399827"/>
            <a:ext cx="3547872" cy="1877023"/>
            <a:chOff x="8293517" y="3333152"/>
            <a:chExt cx="3547872" cy="1877023"/>
          </a:xfrm>
        </p:grpSpPr>
        <p:sp>
          <p:nvSpPr>
            <p:cNvPr id="22" name="TextBox 21">
              <a:extLst>
                <a:ext uri="{FF2B5EF4-FFF2-40B4-BE49-F238E27FC236}">
                  <a16:creationId xmlns:a16="http://schemas.microsoft.com/office/drawing/2014/main" id="{ACAFD509-0037-AFFC-61D9-75F756B7E01E}"/>
                </a:ext>
              </a:extLst>
            </p:cNvPr>
            <p:cNvSpPr txBox="1"/>
            <p:nvPr/>
          </p:nvSpPr>
          <p:spPr>
            <a:xfrm>
              <a:off x="8567627" y="3517867"/>
              <a:ext cx="2592908" cy="430887"/>
            </a:xfrm>
            <a:prstGeom prst="rect">
              <a:avLst/>
            </a:prstGeom>
            <a:noFill/>
            <a:ln>
              <a:noFill/>
            </a:ln>
          </p:spPr>
          <p:txBody>
            <a:bodyPr wrap="square" lIns="0" tIns="0" rIns="0" bIns="0" rtlCol="0" anchor="t">
              <a:spAutoFit/>
            </a:bodyPr>
            <a:lstStyle/>
            <a:p>
              <a:pPr>
                <a:defRPr/>
              </a:pPr>
              <a:r>
                <a:rPr lang="en-US" sz="1400" dirty="0"/>
                <a:t>Recognizing Processes Affected by Regulatory Changes</a:t>
              </a:r>
              <a:endParaRPr lang="en-US" sz="1400" b="1" dirty="0">
                <a:solidFill>
                  <a:schemeClr val="tx2"/>
                </a:solidFill>
                <a:cs typeface="Calibri"/>
              </a:endParaRPr>
            </a:p>
          </p:txBody>
        </p:sp>
        <p:sp>
          <p:nvSpPr>
            <p:cNvPr id="23" name="Rounded Rectangle 20">
              <a:extLst>
                <a:ext uri="{FF2B5EF4-FFF2-40B4-BE49-F238E27FC236}">
                  <a16:creationId xmlns:a16="http://schemas.microsoft.com/office/drawing/2014/main" id="{87D58FB3-96C5-BE4C-1C96-6C6E831AFDC4}"/>
                </a:ext>
              </a:extLst>
            </p:cNvPr>
            <p:cNvSpPr/>
            <p:nvPr/>
          </p:nvSpPr>
          <p:spPr>
            <a:xfrm>
              <a:off x="8293517" y="3333152"/>
              <a:ext cx="3547872" cy="1877023"/>
            </a:xfrm>
            <a:prstGeom prst="roundRect">
              <a:avLst>
                <a:gd name="adj" fmla="val 1087"/>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TextBox 23">
              <a:extLst>
                <a:ext uri="{FF2B5EF4-FFF2-40B4-BE49-F238E27FC236}">
                  <a16:creationId xmlns:a16="http://schemas.microsoft.com/office/drawing/2014/main" id="{3E352745-2E53-55DB-71F7-29616B32B653}"/>
                </a:ext>
              </a:extLst>
            </p:cNvPr>
            <p:cNvSpPr txBox="1"/>
            <p:nvPr/>
          </p:nvSpPr>
          <p:spPr>
            <a:xfrm>
              <a:off x="8567627" y="4011411"/>
              <a:ext cx="2402757" cy="1107996"/>
            </a:xfrm>
            <a:prstGeom prst="rect">
              <a:avLst/>
            </a:prstGeom>
            <a:noFill/>
            <a:ln>
              <a:noFill/>
            </a:ln>
          </p:spPr>
          <p:txBody>
            <a:bodyPr wrap="square" lIns="0" tIns="0" rIns="0" bIns="0" rtlCol="0" anchor="t">
              <a:spAutoFit/>
            </a:bodyPr>
            <a:lstStyle/>
            <a:p>
              <a:pPr marL="0" marR="0" lvl="0" indent="0" algn="l" defTabSz="844083" rtl="0" eaLnBrk="1" fontAlgn="auto" latinLnBrk="0" hangingPunct="1">
                <a:lnSpc>
                  <a:spcPct val="100000"/>
                </a:lnSpc>
                <a:spcBef>
                  <a:spcPts val="554"/>
                </a:spcBef>
                <a:spcAft>
                  <a:spcPts val="0"/>
                </a:spcAft>
                <a:buClrTx/>
                <a:buSzTx/>
                <a:buFontTx/>
                <a:buNone/>
                <a:tabLst/>
                <a:defRPr/>
              </a:pPr>
              <a:r>
                <a:rPr lang="en-US" sz="1200" dirty="0"/>
                <a:t>Examine and identify processes within Consumer Lending areas that may be impacted by new or revised regulatory requirements, allowing for proactive adjustments to ensure compliance.</a:t>
              </a:r>
              <a:endParaRPr kumimoji="0" lang="en-US" sz="1200" b="0" i="0" u="none" strike="noStrike" kern="1200" cap="none" spc="0" normalizeH="0" baseline="0" noProof="0" dirty="0">
                <a:ln>
                  <a:noFill/>
                </a:ln>
                <a:solidFill>
                  <a:prstClr val="black">
                    <a:lumMod val="75000"/>
                    <a:lumOff val="25000"/>
                  </a:prstClr>
                </a:solidFill>
                <a:effectLst/>
                <a:uLnTx/>
                <a:uFillTx/>
                <a:latin typeface="Calibri"/>
                <a:ea typeface="+mn-ea"/>
                <a:cs typeface="+mn-cs"/>
              </a:endParaRPr>
            </a:p>
          </p:txBody>
        </p:sp>
        <p:pic>
          <p:nvPicPr>
            <p:cNvPr id="28" name="Graphic 27">
              <a:extLst>
                <a:ext uri="{FF2B5EF4-FFF2-40B4-BE49-F238E27FC236}">
                  <a16:creationId xmlns:a16="http://schemas.microsoft.com/office/drawing/2014/main" id="{5DD30C4D-9337-30A2-F507-5BA7553C3647}"/>
                </a:ext>
              </a:extLst>
            </p:cNvPr>
            <p:cNvPicPr>
              <a:picLocks/>
            </p:cNvPicPr>
            <p:nvPr/>
          </p:nvPicPr>
          <p:blipFill>
            <a:blip r:embed="rId6">
              <a:extLst>
                <a:ext uri="{96DAC541-7B7A-43D3-8B79-37D633B846F1}">
                  <asvg:svgBlip xmlns:asvg="http://schemas.microsoft.com/office/drawing/2016/SVG/main" r:embed="rId7"/>
                </a:ext>
              </a:extLst>
            </a:blip>
            <a:stretch>
              <a:fillRect/>
            </a:stretch>
          </p:blipFill>
          <p:spPr>
            <a:xfrm>
              <a:off x="11211399" y="3886935"/>
              <a:ext cx="548640" cy="548640"/>
            </a:xfrm>
            <a:prstGeom prst="rect">
              <a:avLst/>
            </a:prstGeom>
          </p:spPr>
        </p:pic>
      </p:grpSp>
      <p:sp>
        <p:nvSpPr>
          <p:cNvPr id="32" name="Rectangle 31">
            <a:extLst>
              <a:ext uri="{FF2B5EF4-FFF2-40B4-BE49-F238E27FC236}">
                <a16:creationId xmlns:a16="http://schemas.microsoft.com/office/drawing/2014/main" id="{6971925D-2E79-160F-10EC-99E71F415AE8}"/>
              </a:ext>
            </a:extLst>
          </p:cNvPr>
          <p:cNvSpPr/>
          <p:nvPr/>
        </p:nvSpPr>
        <p:spPr>
          <a:xfrm>
            <a:off x="387096" y="1103943"/>
            <a:ext cx="11414285" cy="1362054"/>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0" tIns="274320" rIns="91440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57150" marR="0" lvl="0" indent="0" algn="ctr" defTabSz="914400" rtl="0" eaLnBrk="1" fontAlgn="auto" latinLnBrk="0" hangingPunct="1">
              <a:lnSpc>
                <a:spcPct val="100000"/>
              </a:lnSpc>
              <a:spcBef>
                <a:spcPts val="0"/>
              </a:spcBef>
              <a:spcAft>
                <a:spcPts val="120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a:ea typeface="+mn-ea"/>
              <a:cs typeface="+mn-cs"/>
            </a:endParaRPr>
          </a:p>
        </p:txBody>
      </p:sp>
      <p:cxnSp>
        <p:nvCxnSpPr>
          <p:cNvPr id="33" name="Straight Connector 32">
            <a:extLst>
              <a:ext uri="{FF2B5EF4-FFF2-40B4-BE49-F238E27FC236}">
                <a16:creationId xmlns:a16="http://schemas.microsoft.com/office/drawing/2014/main" id="{C604358B-ED8E-92C6-49CC-9E16E4BB9085}"/>
              </a:ext>
            </a:extLst>
          </p:cNvPr>
          <p:cNvCxnSpPr>
            <a:cxnSpLocks/>
          </p:cNvCxnSpPr>
          <p:nvPr/>
        </p:nvCxnSpPr>
        <p:spPr>
          <a:xfrm>
            <a:off x="390281" y="1103943"/>
            <a:ext cx="11411438"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4D00D07D-DA5D-4DA0-F689-D60E0BBDCDD0}"/>
              </a:ext>
            </a:extLst>
          </p:cNvPr>
          <p:cNvSpPr txBox="1"/>
          <p:nvPr/>
        </p:nvSpPr>
        <p:spPr>
          <a:xfrm>
            <a:off x="542647" y="1570991"/>
            <a:ext cx="11015018" cy="830997"/>
          </a:xfrm>
          <a:prstGeom prst="rect">
            <a:avLst/>
          </a:prstGeom>
          <a:noFill/>
        </p:spPr>
        <p:txBody>
          <a:bodyPr wrap="square">
            <a:spAutoFit/>
          </a:bodyPr>
          <a:lstStyle/>
          <a:p>
            <a:pPr marL="0" marR="0" algn="ctr">
              <a:spcBef>
                <a:spcPts val="0"/>
              </a:spcBef>
              <a:spcAft>
                <a:spcPts val="0"/>
              </a:spcAft>
            </a:pPr>
            <a:r>
              <a:rPr lang="en-US" sz="1600" dirty="0"/>
              <a:t>Nearly 6,000 RCSA process maps exist at the Enterprise and Consumer Lending levels, which may result in overlapping processes across various Consumer Lending areas like mortgages, credit cards, and auto loans. It is thought that Wells Fargo could use AI to pinpoint these redundancies, potentially saving costs.</a:t>
            </a:r>
            <a:endParaRPr lang="en-GB" sz="1600" dirty="0">
              <a:effectLst/>
              <a:latin typeface="Aptos" panose="020B0004020202020204" pitchFamily="34" charset="0"/>
              <a:ea typeface="Yu Gothic" panose="020B0400000000000000" pitchFamily="34" charset="-128"/>
              <a:cs typeface="Aptos" panose="020B0004020202020204" pitchFamily="34" charset="0"/>
            </a:endParaRPr>
          </a:p>
        </p:txBody>
      </p:sp>
      <p:sp>
        <p:nvSpPr>
          <p:cNvPr id="36" name="Freeform 3">
            <a:extLst>
              <a:ext uri="{FF2B5EF4-FFF2-40B4-BE49-F238E27FC236}">
                <a16:creationId xmlns:a16="http://schemas.microsoft.com/office/drawing/2014/main" id="{F3775585-2B3B-D7BB-9734-3AA71A0A414D}"/>
              </a:ext>
            </a:extLst>
          </p:cNvPr>
          <p:cNvSpPr/>
          <p:nvPr/>
        </p:nvSpPr>
        <p:spPr>
          <a:xfrm>
            <a:off x="4847863" y="1125034"/>
            <a:ext cx="2488564" cy="543136"/>
          </a:xfrm>
          <a:custGeom>
            <a:avLst/>
            <a:gdLst>
              <a:gd name="connsiteX0" fmla="*/ 0 w 5974080"/>
              <a:gd name="connsiteY0" fmla="*/ 88562 h 531360"/>
              <a:gd name="connsiteX1" fmla="*/ 88562 w 5974080"/>
              <a:gd name="connsiteY1" fmla="*/ 0 h 531360"/>
              <a:gd name="connsiteX2" fmla="*/ 5885518 w 5974080"/>
              <a:gd name="connsiteY2" fmla="*/ 0 h 531360"/>
              <a:gd name="connsiteX3" fmla="*/ 5974080 w 5974080"/>
              <a:gd name="connsiteY3" fmla="*/ 88562 h 531360"/>
              <a:gd name="connsiteX4" fmla="*/ 5974080 w 5974080"/>
              <a:gd name="connsiteY4" fmla="*/ 442798 h 531360"/>
              <a:gd name="connsiteX5" fmla="*/ 5885518 w 5974080"/>
              <a:gd name="connsiteY5" fmla="*/ 531360 h 531360"/>
              <a:gd name="connsiteX6" fmla="*/ 88562 w 5974080"/>
              <a:gd name="connsiteY6" fmla="*/ 531360 h 531360"/>
              <a:gd name="connsiteX7" fmla="*/ 0 w 5974080"/>
              <a:gd name="connsiteY7" fmla="*/ 442798 h 531360"/>
              <a:gd name="connsiteX8" fmla="*/ 0 w 5974080"/>
              <a:gd name="connsiteY8" fmla="*/ 88562 h 531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74080" h="531360">
                <a:moveTo>
                  <a:pt x="0" y="88562"/>
                </a:moveTo>
                <a:cubicBezTo>
                  <a:pt x="0" y="39651"/>
                  <a:pt x="39651" y="0"/>
                  <a:pt x="88562" y="0"/>
                </a:cubicBezTo>
                <a:lnTo>
                  <a:pt x="5885518" y="0"/>
                </a:lnTo>
                <a:cubicBezTo>
                  <a:pt x="5934429" y="0"/>
                  <a:pt x="5974080" y="39651"/>
                  <a:pt x="5974080" y="88562"/>
                </a:cubicBezTo>
                <a:lnTo>
                  <a:pt x="5974080" y="442798"/>
                </a:lnTo>
                <a:cubicBezTo>
                  <a:pt x="5974080" y="491709"/>
                  <a:pt x="5934429" y="531360"/>
                  <a:pt x="5885518" y="531360"/>
                </a:cubicBezTo>
                <a:lnTo>
                  <a:pt x="88562" y="531360"/>
                </a:lnTo>
                <a:cubicBezTo>
                  <a:pt x="39651" y="531360"/>
                  <a:pt x="0" y="491709"/>
                  <a:pt x="0" y="442798"/>
                </a:cubicBezTo>
                <a:lnTo>
                  <a:pt x="0" y="88562"/>
                </a:lnTo>
                <a:close/>
              </a:path>
            </a:pathLst>
          </a:custGeom>
          <a:noFill/>
          <a:ln w="12700" cap="flat" cmpd="sng" algn="ctr">
            <a:noFill/>
            <a:prstDash val="solid"/>
            <a:miter lim="800000"/>
          </a:ln>
          <a:effectLst/>
        </p:spPr>
        <p:txBody>
          <a:bodyPr spcFirstLastPara="0" vert="horz" wrap="square" lIns="218847" tIns="22549" rIns="218847" bIns="22549" numCol="1" spcCol="1270" anchor="ctr" anchorCtr="0">
            <a:noAutofit/>
          </a:bodyPr>
          <a:lstStyle/>
          <a:p>
            <a:pPr marL="0" marR="0" lvl="0" indent="0" algn="ctr" defTabSz="695523" rtl="0" eaLnBrk="0" fontAlgn="base" latinLnBrk="0" hangingPunct="0">
              <a:lnSpc>
                <a:spcPct val="90000"/>
              </a:lnSpc>
              <a:spcBef>
                <a:spcPct val="0"/>
              </a:spcBef>
              <a:spcAft>
                <a:spcPct val="35000"/>
              </a:spcAft>
              <a:buClrTx/>
              <a:buSzTx/>
              <a:buFontTx/>
              <a:buNone/>
              <a:tabLst/>
              <a:defRPr/>
            </a:pPr>
            <a:r>
              <a:rPr kumimoji="0" lang="en-US" b="1" i="0" u="sng" strike="noStrike" kern="0" cap="none" spc="0" normalizeH="0" baseline="0" noProof="0" dirty="0">
                <a:ln>
                  <a:noFill/>
                </a:ln>
                <a:solidFill>
                  <a:srgbClr val="242852"/>
                </a:solidFill>
                <a:effectLst/>
                <a:uLnTx/>
                <a:uFillTx/>
                <a:ea typeface="ＭＳ Ｐゴシック"/>
                <a:cs typeface="Arial" panose="020B0604020202020204" pitchFamily="34" charset="0"/>
              </a:rPr>
              <a:t>Problem Statement</a:t>
            </a:r>
          </a:p>
        </p:txBody>
      </p:sp>
    </p:spTree>
    <p:extLst>
      <p:ext uri="{BB962C8B-B14F-4D97-AF65-F5344CB8AC3E}">
        <p14:creationId xmlns:p14="http://schemas.microsoft.com/office/powerpoint/2010/main" val="10152612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Rounded Corners 6">
            <a:extLst>
              <a:ext uri="{FF2B5EF4-FFF2-40B4-BE49-F238E27FC236}">
                <a16:creationId xmlns:a16="http://schemas.microsoft.com/office/drawing/2014/main" id="{0C4DF51A-2080-53C7-7A64-4FF19EFAD8AF}"/>
              </a:ext>
            </a:extLst>
          </p:cNvPr>
          <p:cNvSpPr/>
          <p:nvPr/>
        </p:nvSpPr>
        <p:spPr>
          <a:xfrm>
            <a:off x="9015404" y="1862469"/>
            <a:ext cx="2626242" cy="3776331"/>
          </a:xfrm>
          <a:prstGeom prst="roundRect">
            <a:avLst>
              <a:gd name="adj" fmla="val 2030"/>
            </a:avLst>
          </a:prstGeom>
          <a:solidFill>
            <a:schemeClr val="bg1"/>
          </a:solidFill>
          <a:ln w="6350">
            <a:solidFill>
              <a:schemeClr val="accent5"/>
            </a:solidFill>
          </a:ln>
          <a:effectLst>
            <a:outerShdw blurRad="76200" sx="102000" sy="102000" algn="ctr"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Calibri"/>
              <a:ea typeface="+mn-ea"/>
              <a:cs typeface="+mn-cs"/>
            </a:endParaRPr>
          </a:p>
        </p:txBody>
      </p:sp>
      <p:sp>
        <p:nvSpPr>
          <p:cNvPr id="26" name="Rectangle: Rounded Corners 6">
            <a:extLst>
              <a:ext uri="{FF2B5EF4-FFF2-40B4-BE49-F238E27FC236}">
                <a16:creationId xmlns:a16="http://schemas.microsoft.com/office/drawing/2014/main" id="{08F1EC70-CD4B-C5F6-EAF6-48CB57B85486}"/>
              </a:ext>
            </a:extLst>
          </p:cNvPr>
          <p:cNvSpPr/>
          <p:nvPr/>
        </p:nvSpPr>
        <p:spPr>
          <a:xfrm>
            <a:off x="521171" y="1848201"/>
            <a:ext cx="2626242" cy="3790599"/>
          </a:xfrm>
          <a:prstGeom prst="roundRect">
            <a:avLst>
              <a:gd name="adj" fmla="val 2030"/>
            </a:avLst>
          </a:prstGeom>
          <a:solidFill>
            <a:schemeClr val="bg1"/>
          </a:solidFill>
          <a:ln w="6350">
            <a:solidFill>
              <a:schemeClr val="accent1"/>
            </a:solidFill>
          </a:ln>
          <a:effectLst>
            <a:outerShdw blurRad="76200" sx="102000" sy="102000" algn="ctr"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Calibri"/>
              <a:ea typeface="+mn-ea"/>
              <a:cs typeface="+mn-cs"/>
            </a:endParaRPr>
          </a:p>
        </p:txBody>
      </p:sp>
      <p:sp>
        <p:nvSpPr>
          <p:cNvPr id="32" name="Rectangle: Rounded Corners 6">
            <a:extLst>
              <a:ext uri="{FF2B5EF4-FFF2-40B4-BE49-F238E27FC236}">
                <a16:creationId xmlns:a16="http://schemas.microsoft.com/office/drawing/2014/main" id="{007B050D-32C0-F3F6-4B47-F0A3889A4F80}"/>
              </a:ext>
            </a:extLst>
          </p:cNvPr>
          <p:cNvSpPr/>
          <p:nvPr/>
        </p:nvSpPr>
        <p:spPr>
          <a:xfrm>
            <a:off x="3321550" y="1862469"/>
            <a:ext cx="2626242" cy="3776331"/>
          </a:xfrm>
          <a:prstGeom prst="roundRect">
            <a:avLst>
              <a:gd name="adj" fmla="val 2030"/>
            </a:avLst>
          </a:prstGeom>
          <a:solidFill>
            <a:schemeClr val="bg1"/>
          </a:solidFill>
          <a:ln w="6350">
            <a:solidFill>
              <a:schemeClr val="accent2"/>
            </a:solidFill>
          </a:ln>
          <a:effectLst>
            <a:outerShdw blurRad="76200" sx="102000" sy="102000" algn="ctr"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Calibri"/>
              <a:ea typeface="+mn-ea"/>
              <a:cs typeface="+mn-cs"/>
            </a:endParaRPr>
          </a:p>
        </p:txBody>
      </p:sp>
      <p:sp>
        <p:nvSpPr>
          <p:cNvPr id="38" name="Rectangle: Rounded Corners 6">
            <a:extLst>
              <a:ext uri="{FF2B5EF4-FFF2-40B4-BE49-F238E27FC236}">
                <a16:creationId xmlns:a16="http://schemas.microsoft.com/office/drawing/2014/main" id="{EB845BA0-BAB5-128B-746A-750894170C61}"/>
              </a:ext>
            </a:extLst>
          </p:cNvPr>
          <p:cNvSpPr/>
          <p:nvPr/>
        </p:nvSpPr>
        <p:spPr>
          <a:xfrm>
            <a:off x="6172200" y="1862469"/>
            <a:ext cx="2626242" cy="3776331"/>
          </a:xfrm>
          <a:prstGeom prst="roundRect">
            <a:avLst>
              <a:gd name="adj" fmla="val 2030"/>
            </a:avLst>
          </a:prstGeom>
          <a:solidFill>
            <a:schemeClr val="bg1"/>
          </a:solidFill>
          <a:ln w="6350">
            <a:solidFill>
              <a:schemeClr val="accent3"/>
            </a:solidFill>
          </a:ln>
          <a:effectLst>
            <a:outerShdw blurRad="76200" sx="102000" sy="102000" algn="ctr"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Calibri"/>
              <a:ea typeface="+mn-ea"/>
              <a:cs typeface="+mn-cs"/>
            </a:endParaRPr>
          </a:p>
        </p:txBody>
      </p:sp>
      <p:sp>
        <p:nvSpPr>
          <p:cNvPr id="3" name="Title 2">
            <a:extLst>
              <a:ext uri="{FF2B5EF4-FFF2-40B4-BE49-F238E27FC236}">
                <a16:creationId xmlns:a16="http://schemas.microsoft.com/office/drawing/2014/main" id="{5ECE2F01-0DF2-A153-F12A-F3E1CA6FEE64}"/>
              </a:ext>
            </a:extLst>
          </p:cNvPr>
          <p:cNvSpPr>
            <a:spLocks noGrp="1"/>
          </p:cNvSpPr>
          <p:nvPr>
            <p:ph type="title"/>
          </p:nvPr>
        </p:nvSpPr>
        <p:spPr/>
        <p:txBody>
          <a:bodyPr/>
          <a:lstStyle/>
          <a:p>
            <a:r>
              <a:rPr lang="en-US" dirty="0"/>
              <a:t>Solution | TRANSFORM WITH MODERN AI CAPABILITIES</a:t>
            </a:r>
            <a:endParaRPr lang="en-GB" dirty="0"/>
          </a:p>
        </p:txBody>
      </p:sp>
      <p:sp>
        <p:nvSpPr>
          <p:cNvPr id="28" name="TextBox 27">
            <a:extLst>
              <a:ext uri="{FF2B5EF4-FFF2-40B4-BE49-F238E27FC236}">
                <a16:creationId xmlns:a16="http://schemas.microsoft.com/office/drawing/2014/main" id="{CF78ACC6-407E-3C34-CBC2-2305AA53F6C8}"/>
              </a:ext>
            </a:extLst>
          </p:cNvPr>
          <p:cNvSpPr txBox="1"/>
          <p:nvPr/>
        </p:nvSpPr>
        <p:spPr>
          <a:xfrm>
            <a:off x="684295" y="2102493"/>
            <a:ext cx="2362425" cy="492443"/>
          </a:xfrm>
          <a:prstGeom prst="rect">
            <a:avLst/>
          </a:prstGeom>
          <a:noFill/>
        </p:spPr>
        <p:txBody>
          <a:bodyPr wrap="square" lIns="0" tIns="0" rIns="0" bIns="0" rtlCol="0" anchor="t">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A66AC"/>
                </a:solidFill>
                <a:effectLst/>
                <a:uLnTx/>
                <a:uFillTx/>
                <a:latin typeface="Century Gothic"/>
                <a:ea typeface="+mn-ea"/>
                <a:cs typeface="+mn-cs"/>
              </a:rPr>
              <a:t>Convert Process Maps into Knowledge Bases</a:t>
            </a:r>
          </a:p>
        </p:txBody>
      </p:sp>
      <p:sp>
        <p:nvSpPr>
          <p:cNvPr id="31" name="TextBox 30">
            <a:extLst>
              <a:ext uri="{FF2B5EF4-FFF2-40B4-BE49-F238E27FC236}">
                <a16:creationId xmlns:a16="http://schemas.microsoft.com/office/drawing/2014/main" id="{C3734B92-8FB3-7A36-B0A2-3FAB057635B9}"/>
              </a:ext>
            </a:extLst>
          </p:cNvPr>
          <p:cNvSpPr txBox="1"/>
          <p:nvPr/>
        </p:nvSpPr>
        <p:spPr>
          <a:xfrm>
            <a:off x="706010" y="3839210"/>
            <a:ext cx="2299063" cy="1631216"/>
          </a:xfrm>
          <a:prstGeom prst="rect">
            <a:avLst/>
          </a:prstGeom>
          <a:noFill/>
          <a:ln>
            <a:noFill/>
          </a:ln>
        </p:spPr>
        <p:txBody>
          <a:bodyPr wrap="square" lIns="0" tIns="0" rIns="0" bIns="0" rtlCol="0" anchor="t">
            <a:spAutoFit/>
          </a:bodyPr>
          <a:lstStyle/>
          <a:p>
            <a:pPr marL="171450" marR="0" lvl="0" indent="-171450" algn="l" defTabSz="844083" rtl="0" eaLnBrk="1" fontAlgn="auto" latinLnBrk="0" hangingPunct="1">
              <a:lnSpc>
                <a:spcPct val="100000"/>
              </a:lnSpc>
              <a:spcBef>
                <a:spcPts val="0"/>
              </a:spcBef>
              <a:spcAft>
                <a:spcPts val="600"/>
              </a:spcAft>
              <a:buClrTx/>
              <a:buSzTx/>
              <a:buFont typeface="Wingdings" pitchFamily="2" charset="2"/>
              <a:buChar char="§"/>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Calibri"/>
                <a:ea typeface="+mn-ea"/>
                <a:cs typeface="+mn-cs"/>
              </a:rPr>
              <a:t>Convert intricate process maps into user-friendly knowledge bases  </a:t>
            </a:r>
          </a:p>
          <a:p>
            <a:pPr marL="171450" marR="0" lvl="0" indent="-171450" algn="l" defTabSz="844083" rtl="0" eaLnBrk="1" fontAlgn="auto" latinLnBrk="0" hangingPunct="1">
              <a:lnSpc>
                <a:spcPct val="100000"/>
              </a:lnSpc>
              <a:spcBef>
                <a:spcPts val="0"/>
              </a:spcBef>
              <a:spcAft>
                <a:spcPts val="600"/>
              </a:spcAft>
              <a:buClrTx/>
              <a:buSzTx/>
              <a:buFont typeface="Wingdings" pitchFamily="2" charset="2"/>
              <a:buChar char="§"/>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Calibri"/>
                <a:ea typeface="+mn-ea"/>
                <a:cs typeface="+mn-cs"/>
              </a:rPr>
              <a:t>Allow for quick referencing and retrieval of process information  </a:t>
            </a:r>
          </a:p>
          <a:p>
            <a:pPr marL="171450" marR="0" lvl="0" indent="-171450" algn="l" defTabSz="844083" rtl="0" eaLnBrk="1" fontAlgn="auto" latinLnBrk="0" hangingPunct="1">
              <a:lnSpc>
                <a:spcPct val="100000"/>
              </a:lnSpc>
              <a:spcBef>
                <a:spcPts val="0"/>
              </a:spcBef>
              <a:spcAft>
                <a:spcPts val="600"/>
              </a:spcAft>
              <a:buClrTx/>
              <a:buSzTx/>
              <a:buFont typeface="Wingdings" pitchFamily="2" charset="2"/>
              <a:buChar char="§"/>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Calibri"/>
                <a:ea typeface="+mn-ea"/>
                <a:cs typeface="+mn-cs"/>
              </a:rPr>
              <a:t>Support ongoing process improvement through centralized access to knowledge</a:t>
            </a:r>
            <a:endParaRPr lang="en-US" sz="1200" dirty="0">
              <a:solidFill>
                <a:prstClr val="black">
                  <a:lumMod val="50000"/>
                  <a:lumOff val="50000"/>
                </a:prstClr>
              </a:solidFill>
              <a:latin typeface="Calibri"/>
            </a:endParaRPr>
          </a:p>
        </p:txBody>
      </p:sp>
      <p:sp>
        <p:nvSpPr>
          <p:cNvPr id="37" name="TextBox 36">
            <a:extLst>
              <a:ext uri="{FF2B5EF4-FFF2-40B4-BE49-F238E27FC236}">
                <a16:creationId xmlns:a16="http://schemas.microsoft.com/office/drawing/2014/main" id="{EF5D4CCC-3E85-1164-0A5C-CDC99D242749}"/>
              </a:ext>
            </a:extLst>
          </p:cNvPr>
          <p:cNvSpPr txBox="1"/>
          <p:nvPr/>
        </p:nvSpPr>
        <p:spPr>
          <a:xfrm>
            <a:off x="3516390" y="3839210"/>
            <a:ext cx="2299063" cy="1446550"/>
          </a:xfrm>
          <a:prstGeom prst="rect">
            <a:avLst/>
          </a:prstGeom>
          <a:noFill/>
          <a:ln>
            <a:noFill/>
          </a:ln>
        </p:spPr>
        <p:txBody>
          <a:bodyPr wrap="square" lIns="0" tIns="0" rIns="0" bIns="0" rtlCol="0" anchor="t">
            <a:spAutoFit/>
          </a:bodyPr>
          <a:lstStyle/>
          <a:p>
            <a:pPr marL="171450" indent="-171450" defTabSz="844083">
              <a:spcAft>
                <a:spcPts val="600"/>
              </a:spcAft>
              <a:buFont typeface="Wingdings" pitchFamily="2" charset="2"/>
              <a:buChar char="§"/>
              <a:defRPr/>
            </a:pPr>
            <a:r>
              <a:rPr lang="en-US" sz="1200" dirty="0">
                <a:solidFill>
                  <a:prstClr val="black">
                    <a:lumMod val="50000"/>
                    <a:lumOff val="50000"/>
                  </a:prstClr>
                </a:solidFill>
                <a:latin typeface="Calibri"/>
              </a:rPr>
              <a:t>Automatically classify process elements according to established criteria  </a:t>
            </a:r>
          </a:p>
          <a:p>
            <a:pPr marL="171450" indent="-171450" defTabSz="844083">
              <a:spcAft>
                <a:spcPts val="600"/>
              </a:spcAft>
              <a:buFont typeface="Wingdings" pitchFamily="2" charset="2"/>
              <a:buChar char="§"/>
              <a:defRPr/>
            </a:pPr>
            <a:r>
              <a:rPr lang="en-US" sz="1200" dirty="0">
                <a:solidFill>
                  <a:prstClr val="black">
                    <a:lumMod val="50000"/>
                    <a:lumOff val="50000"/>
                  </a:prstClr>
                </a:solidFill>
                <a:latin typeface="Calibri"/>
              </a:rPr>
              <a:t>Improve the searchability and organization of process data  </a:t>
            </a:r>
          </a:p>
          <a:p>
            <a:pPr marL="171450" indent="-171450" defTabSz="844083">
              <a:spcAft>
                <a:spcPts val="600"/>
              </a:spcAft>
              <a:buFont typeface="Wingdings" pitchFamily="2" charset="2"/>
              <a:buChar char="§"/>
              <a:defRPr/>
            </a:pPr>
            <a:r>
              <a:rPr lang="en-US" sz="1200" dirty="0">
                <a:solidFill>
                  <a:prstClr val="black">
                    <a:lumMod val="50000"/>
                    <a:lumOff val="50000"/>
                  </a:prstClr>
                </a:solidFill>
                <a:latin typeface="Calibri"/>
              </a:rPr>
              <a:t>Minimize manual effort in managing and categorizing data</a:t>
            </a:r>
            <a:endParaRPr lang="en-GB" sz="1200" dirty="0">
              <a:solidFill>
                <a:prstClr val="black">
                  <a:lumMod val="50000"/>
                  <a:lumOff val="50000"/>
                </a:prstClr>
              </a:solidFill>
              <a:latin typeface="Calibri"/>
            </a:endParaRPr>
          </a:p>
        </p:txBody>
      </p:sp>
      <p:sp>
        <p:nvSpPr>
          <p:cNvPr id="40" name="TextBox 39">
            <a:extLst>
              <a:ext uri="{FF2B5EF4-FFF2-40B4-BE49-F238E27FC236}">
                <a16:creationId xmlns:a16="http://schemas.microsoft.com/office/drawing/2014/main" id="{5A2A4505-29BE-3120-21FE-8C4263972FC7}"/>
              </a:ext>
            </a:extLst>
          </p:cNvPr>
          <p:cNvSpPr txBox="1"/>
          <p:nvPr/>
        </p:nvSpPr>
        <p:spPr>
          <a:xfrm>
            <a:off x="6516096" y="2102493"/>
            <a:ext cx="1938450" cy="492443"/>
          </a:xfrm>
          <a:prstGeom prst="rect">
            <a:avLst/>
          </a:prstGeom>
          <a:noFill/>
        </p:spPr>
        <p:txBody>
          <a:bodyPr wrap="square" lIns="0" tIns="0" rIns="0" bIns="0" rtlCol="0" anchor="t">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97FD5"/>
                </a:solidFill>
                <a:effectLst/>
                <a:uLnTx/>
                <a:uFillTx/>
                <a:latin typeface="Century Gothic"/>
                <a:ea typeface="+mn-ea"/>
                <a:cs typeface="+mn-cs"/>
              </a:rPr>
              <a:t>Q/A on Process Content</a:t>
            </a:r>
          </a:p>
        </p:txBody>
      </p:sp>
      <p:sp>
        <p:nvSpPr>
          <p:cNvPr id="43" name="TextBox 42">
            <a:extLst>
              <a:ext uri="{FF2B5EF4-FFF2-40B4-BE49-F238E27FC236}">
                <a16:creationId xmlns:a16="http://schemas.microsoft.com/office/drawing/2014/main" id="{AE661B57-4393-64FB-759D-5E9BE166D076}"/>
              </a:ext>
            </a:extLst>
          </p:cNvPr>
          <p:cNvSpPr txBox="1"/>
          <p:nvPr/>
        </p:nvSpPr>
        <p:spPr>
          <a:xfrm>
            <a:off x="6335790" y="3839210"/>
            <a:ext cx="2299063" cy="1261884"/>
          </a:xfrm>
          <a:prstGeom prst="rect">
            <a:avLst/>
          </a:prstGeom>
          <a:noFill/>
          <a:ln>
            <a:noFill/>
          </a:ln>
        </p:spPr>
        <p:txBody>
          <a:bodyPr wrap="square" lIns="0" tIns="0" rIns="0" bIns="0" rtlCol="0" anchor="t">
            <a:spAutoFit/>
          </a:bodyPr>
          <a:lstStyle/>
          <a:p>
            <a:pPr marL="171450" indent="-171450" defTabSz="844083">
              <a:spcAft>
                <a:spcPts val="600"/>
              </a:spcAft>
              <a:buFont typeface="Wingdings" pitchFamily="2" charset="2"/>
              <a:buChar char="§"/>
              <a:defRPr/>
            </a:pPr>
            <a:r>
              <a:rPr lang="en-US" sz="1200" dirty="0">
                <a:solidFill>
                  <a:prstClr val="black">
                    <a:lumMod val="50000"/>
                    <a:lumOff val="50000"/>
                  </a:prstClr>
                </a:solidFill>
                <a:latin typeface="Calibri"/>
              </a:rPr>
              <a:t>Deliver immediate responses to process-related inquiries  </a:t>
            </a:r>
          </a:p>
          <a:p>
            <a:pPr marL="171450" indent="-171450" defTabSz="844083">
              <a:spcAft>
                <a:spcPts val="600"/>
              </a:spcAft>
              <a:buFont typeface="Wingdings" pitchFamily="2" charset="2"/>
              <a:buChar char="§"/>
              <a:defRPr/>
            </a:pPr>
            <a:r>
              <a:rPr lang="en-US" sz="1200" dirty="0">
                <a:solidFill>
                  <a:prstClr val="black">
                    <a:lumMod val="50000"/>
                    <a:lumOff val="50000"/>
                  </a:prstClr>
                </a:solidFill>
                <a:latin typeface="Calibri"/>
              </a:rPr>
              <a:t>Enhance accuracy through AI-driven content analysis  </a:t>
            </a:r>
          </a:p>
          <a:p>
            <a:pPr marL="171450" indent="-171450" defTabSz="844083">
              <a:spcAft>
                <a:spcPts val="600"/>
              </a:spcAft>
              <a:buFont typeface="Wingdings" pitchFamily="2" charset="2"/>
              <a:buChar char="§"/>
              <a:defRPr/>
            </a:pPr>
            <a:r>
              <a:rPr lang="en-US" sz="1200" dirty="0">
                <a:solidFill>
                  <a:prstClr val="black">
                    <a:lumMod val="50000"/>
                    <a:lumOff val="50000"/>
                  </a:prstClr>
                </a:solidFill>
                <a:latin typeface="Calibri"/>
              </a:rPr>
              <a:t>Support rapid decision-making and problem-solving</a:t>
            </a:r>
            <a:endParaRPr lang="en-GB" sz="1200" dirty="0">
              <a:solidFill>
                <a:prstClr val="black">
                  <a:lumMod val="50000"/>
                  <a:lumOff val="50000"/>
                </a:prstClr>
              </a:solidFill>
              <a:latin typeface="Calibri"/>
            </a:endParaRPr>
          </a:p>
        </p:txBody>
      </p:sp>
      <p:sp>
        <p:nvSpPr>
          <p:cNvPr id="46" name="TextBox 45">
            <a:extLst>
              <a:ext uri="{FF2B5EF4-FFF2-40B4-BE49-F238E27FC236}">
                <a16:creationId xmlns:a16="http://schemas.microsoft.com/office/drawing/2014/main" id="{46B17CAD-8853-7AB6-F84D-9195D37361FE}"/>
              </a:ext>
            </a:extLst>
          </p:cNvPr>
          <p:cNvSpPr txBox="1"/>
          <p:nvPr/>
        </p:nvSpPr>
        <p:spPr>
          <a:xfrm>
            <a:off x="9482817" y="2102493"/>
            <a:ext cx="1605836" cy="492443"/>
          </a:xfrm>
          <a:prstGeom prst="rect">
            <a:avLst/>
          </a:prstGeom>
          <a:noFill/>
        </p:spPr>
        <p:txBody>
          <a:bodyPr wrap="square" lIns="0" tIns="0" rIns="0" bIns="0" rtlCol="0" anchor="t">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5AA2AE"/>
                </a:solidFill>
                <a:effectLst/>
                <a:uLnTx/>
                <a:uFillTx/>
                <a:latin typeface="Century Gothic"/>
                <a:ea typeface="+mn-ea"/>
                <a:cs typeface="+mn-cs"/>
              </a:rPr>
              <a:t>Q/A Across Broad Scope</a:t>
            </a:r>
          </a:p>
        </p:txBody>
      </p:sp>
      <p:sp>
        <p:nvSpPr>
          <p:cNvPr id="50" name="TextBox 49">
            <a:extLst>
              <a:ext uri="{FF2B5EF4-FFF2-40B4-BE49-F238E27FC236}">
                <a16:creationId xmlns:a16="http://schemas.microsoft.com/office/drawing/2014/main" id="{AE3826D6-BE59-3D05-36E1-A11E2CB9B0C6}"/>
              </a:ext>
            </a:extLst>
          </p:cNvPr>
          <p:cNvSpPr txBox="1"/>
          <p:nvPr/>
        </p:nvSpPr>
        <p:spPr>
          <a:xfrm>
            <a:off x="9115825" y="3839210"/>
            <a:ext cx="2339821" cy="1261884"/>
          </a:xfrm>
          <a:prstGeom prst="rect">
            <a:avLst/>
          </a:prstGeom>
          <a:noFill/>
          <a:ln>
            <a:noFill/>
          </a:ln>
        </p:spPr>
        <p:txBody>
          <a:bodyPr wrap="square" lIns="0" tIns="0" rIns="0" bIns="0" rtlCol="0" anchor="t">
            <a:spAutoFit/>
          </a:bodyPr>
          <a:lstStyle/>
          <a:p>
            <a:pPr marL="171450" indent="-171450" defTabSz="844083">
              <a:spcAft>
                <a:spcPts val="600"/>
              </a:spcAft>
              <a:buFont typeface="Wingdings" pitchFamily="2" charset="2"/>
              <a:buChar char="§"/>
              <a:defRPr/>
            </a:pPr>
            <a:r>
              <a:rPr lang="en-US" sz="1200" dirty="0">
                <a:solidFill>
                  <a:prstClr val="black">
                    <a:lumMod val="50000"/>
                    <a:lumOff val="50000"/>
                  </a:prstClr>
                </a:solidFill>
                <a:latin typeface="Calibri"/>
              </a:rPr>
              <a:t>Address questions spanning multiple processes and domains  </a:t>
            </a:r>
          </a:p>
          <a:p>
            <a:pPr marL="171450" indent="-171450" defTabSz="844083">
              <a:spcAft>
                <a:spcPts val="600"/>
              </a:spcAft>
              <a:buFont typeface="Wingdings" pitchFamily="2" charset="2"/>
              <a:buChar char="§"/>
              <a:defRPr/>
            </a:pPr>
            <a:r>
              <a:rPr lang="en-US" sz="1200" dirty="0">
                <a:solidFill>
                  <a:prstClr val="black">
                    <a:lumMod val="50000"/>
                    <a:lumOff val="50000"/>
                  </a:prstClr>
                </a:solidFill>
                <a:latin typeface="Calibri"/>
              </a:rPr>
              <a:t>Combine knowledge from different consumer lending sectors  </a:t>
            </a:r>
          </a:p>
          <a:p>
            <a:pPr marL="171450" indent="-171450" defTabSz="844083">
              <a:spcAft>
                <a:spcPts val="600"/>
              </a:spcAft>
              <a:buFont typeface="Wingdings" pitchFamily="2" charset="2"/>
              <a:buChar char="§"/>
              <a:defRPr/>
            </a:pPr>
            <a:r>
              <a:rPr lang="en-US" sz="1200" dirty="0">
                <a:solidFill>
                  <a:prstClr val="black">
                    <a:lumMod val="50000"/>
                    <a:lumOff val="50000"/>
                  </a:prstClr>
                </a:solidFill>
                <a:latin typeface="Calibri"/>
              </a:rPr>
              <a:t>Facilitate thorough analysis through cross-domain insights</a:t>
            </a:r>
            <a:endParaRPr lang="en-GB" sz="1200" dirty="0">
              <a:solidFill>
                <a:prstClr val="black">
                  <a:lumMod val="50000"/>
                  <a:lumOff val="50000"/>
                </a:prstClr>
              </a:solidFill>
              <a:latin typeface="Calibri"/>
            </a:endParaRPr>
          </a:p>
        </p:txBody>
      </p:sp>
      <p:pic>
        <p:nvPicPr>
          <p:cNvPr id="51" name="Graphic 50">
            <a:extLst>
              <a:ext uri="{FF2B5EF4-FFF2-40B4-BE49-F238E27FC236}">
                <a16:creationId xmlns:a16="http://schemas.microsoft.com/office/drawing/2014/main" id="{83232FCF-2A71-E19B-C58D-A47C8B1F54D6}"/>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1666324" y="2994700"/>
            <a:ext cx="457200" cy="457200"/>
          </a:xfrm>
          <a:prstGeom prst="rect">
            <a:avLst/>
          </a:prstGeom>
        </p:spPr>
      </p:pic>
      <p:grpSp>
        <p:nvGrpSpPr>
          <p:cNvPr id="3099" name="Group 3098">
            <a:extLst>
              <a:ext uri="{FF2B5EF4-FFF2-40B4-BE49-F238E27FC236}">
                <a16:creationId xmlns:a16="http://schemas.microsoft.com/office/drawing/2014/main" id="{6FFD3823-91AF-322B-F99E-43ABB6E55404}"/>
              </a:ext>
            </a:extLst>
          </p:cNvPr>
          <p:cNvGrpSpPr/>
          <p:nvPr/>
        </p:nvGrpSpPr>
        <p:grpSpPr>
          <a:xfrm>
            <a:off x="830275" y="2835910"/>
            <a:ext cx="712229" cy="774780"/>
            <a:chOff x="830275" y="2835910"/>
            <a:chExt cx="712229" cy="774780"/>
          </a:xfrm>
        </p:grpSpPr>
        <p:pic>
          <p:nvPicPr>
            <p:cNvPr id="52" name="Graphic 51">
              <a:extLst>
                <a:ext uri="{FF2B5EF4-FFF2-40B4-BE49-F238E27FC236}">
                  <a16:creationId xmlns:a16="http://schemas.microsoft.com/office/drawing/2014/main" id="{8BF747A8-EEE8-BD88-1119-8A9A47D2D66F}"/>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830275" y="2835910"/>
              <a:ext cx="365760" cy="365760"/>
            </a:xfrm>
            <a:prstGeom prst="rect">
              <a:avLst/>
            </a:prstGeom>
          </p:spPr>
        </p:pic>
        <p:pic>
          <p:nvPicPr>
            <p:cNvPr id="53" name="Graphic 52">
              <a:extLst>
                <a:ext uri="{FF2B5EF4-FFF2-40B4-BE49-F238E27FC236}">
                  <a16:creationId xmlns:a16="http://schemas.microsoft.com/office/drawing/2014/main" id="{902227F9-F4B1-9BF7-F5A6-A8139D84E0EA}"/>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830275" y="3244930"/>
              <a:ext cx="365760" cy="365760"/>
            </a:xfrm>
            <a:prstGeom prst="rect">
              <a:avLst/>
            </a:prstGeom>
          </p:spPr>
        </p:pic>
        <p:pic>
          <p:nvPicPr>
            <p:cNvPr id="54" name="Graphic 53">
              <a:extLst>
                <a:ext uri="{FF2B5EF4-FFF2-40B4-BE49-F238E27FC236}">
                  <a16:creationId xmlns:a16="http://schemas.microsoft.com/office/drawing/2014/main" id="{13E79656-974A-2874-CB94-434071D1B4A5}"/>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1176744" y="3244930"/>
              <a:ext cx="365760" cy="365760"/>
            </a:xfrm>
            <a:prstGeom prst="rect">
              <a:avLst/>
            </a:prstGeom>
          </p:spPr>
        </p:pic>
        <p:pic>
          <p:nvPicPr>
            <p:cNvPr id="55" name="Graphic 54">
              <a:extLst>
                <a:ext uri="{FF2B5EF4-FFF2-40B4-BE49-F238E27FC236}">
                  <a16:creationId xmlns:a16="http://schemas.microsoft.com/office/drawing/2014/main" id="{9895F50B-C524-707A-92AA-65CF1ADED18B}"/>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1176744" y="2835910"/>
              <a:ext cx="365760" cy="365760"/>
            </a:xfrm>
            <a:prstGeom prst="rect">
              <a:avLst/>
            </a:prstGeom>
          </p:spPr>
        </p:pic>
      </p:grpSp>
      <p:sp>
        <p:nvSpPr>
          <p:cNvPr id="59" name="TextBox 58">
            <a:extLst>
              <a:ext uri="{FF2B5EF4-FFF2-40B4-BE49-F238E27FC236}">
                <a16:creationId xmlns:a16="http://schemas.microsoft.com/office/drawing/2014/main" id="{37E3EE0C-296A-1F8D-C7FA-F5293B761058}"/>
              </a:ext>
            </a:extLst>
          </p:cNvPr>
          <p:cNvSpPr txBox="1"/>
          <p:nvPr/>
        </p:nvSpPr>
        <p:spPr>
          <a:xfrm>
            <a:off x="3453459" y="2102493"/>
            <a:ext cx="2362425" cy="492443"/>
          </a:xfrm>
          <a:prstGeom prst="rect">
            <a:avLst/>
          </a:prstGeom>
          <a:noFill/>
        </p:spPr>
        <p:txBody>
          <a:bodyPr wrap="square" lIns="0" tIns="0" rIns="0" bIns="0" rtlCol="0" anchor="t">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629DD1"/>
                </a:solidFill>
                <a:effectLst/>
                <a:uLnTx/>
                <a:uFillTx/>
                <a:latin typeface="Century Gothic"/>
                <a:ea typeface="+mn-ea"/>
                <a:cs typeface="+mn-cs"/>
              </a:rPr>
              <a:t>Classify and Tag Automatically</a:t>
            </a:r>
          </a:p>
        </p:txBody>
      </p:sp>
      <p:grpSp>
        <p:nvGrpSpPr>
          <p:cNvPr id="3094" name="Group 3093">
            <a:extLst>
              <a:ext uri="{FF2B5EF4-FFF2-40B4-BE49-F238E27FC236}">
                <a16:creationId xmlns:a16="http://schemas.microsoft.com/office/drawing/2014/main" id="{CBEAD6F7-67D8-D616-CEBB-BBF083858869}"/>
              </a:ext>
            </a:extLst>
          </p:cNvPr>
          <p:cNvGrpSpPr/>
          <p:nvPr/>
        </p:nvGrpSpPr>
        <p:grpSpPr>
          <a:xfrm>
            <a:off x="4177471" y="2773775"/>
            <a:ext cx="914400" cy="914400"/>
            <a:chOff x="4208721" y="2773775"/>
            <a:chExt cx="914400" cy="914400"/>
          </a:xfrm>
        </p:grpSpPr>
        <p:pic>
          <p:nvPicPr>
            <p:cNvPr id="60" name="Graphic 59">
              <a:extLst>
                <a:ext uri="{FF2B5EF4-FFF2-40B4-BE49-F238E27FC236}">
                  <a16:creationId xmlns:a16="http://schemas.microsoft.com/office/drawing/2014/main" id="{C04EEC1E-2A1D-A206-9591-DE04C312E399}"/>
                </a:ext>
              </a:extLst>
            </p:cNvPr>
            <p:cNvPicPr>
              <a:picLocks/>
            </p:cNvPicPr>
            <p:nvPr/>
          </p:nvPicPr>
          <p:blipFill>
            <a:blip r:embed="rId7">
              <a:extLst>
                <a:ext uri="{96DAC541-7B7A-43D3-8B79-37D633B846F1}">
                  <asvg:svgBlip xmlns:asvg="http://schemas.microsoft.com/office/drawing/2016/SVG/main" r:embed="rId8"/>
                </a:ext>
              </a:extLst>
            </a:blip>
            <a:stretch>
              <a:fillRect/>
            </a:stretch>
          </p:blipFill>
          <p:spPr>
            <a:xfrm>
              <a:off x="4208721" y="2773775"/>
              <a:ext cx="914400" cy="914400"/>
            </a:xfrm>
            <a:prstGeom prst="rect">
              <a:avLst/>
            </a:prstGeom>
          </p:spPr>
        </p:pic>
        <p:grpSp>
          <p:nvGrpSpPr>
            <p:cNvPr id="3087" name="Group 3086">
              <a:extLst>
                <a:ext uri="{FF2B5EF4-FFF2-40B4-BE49-F238E27FC236}">
                  <a16:creationId xmlns:a16="http://schemas.microsoft.com/office/drawing/2014/main" id="{8EB8E961-B765-6222-098D-ECCAFECC0362}"/>
                </a:ext>
              </a:extLst>
            </p:cNvPr>
            <p:cNvGrpSpPr/>
            <p:nvPr/>
          </p:nvGrpSpPr>
          <p:grpSpPr>
            <a:xfrm>
              <a:off x="4298738" y="2860669"/>
              <a:ext cx="724552" cy="750248"/>
              <a:chOff x="4298738" y="2860669"/>
              <a:chExt cx="724552" cy="750248"/>
            </a:xfrm>
          </p:grpSpPr>
          <p:sp>
            <p:nvSpPr>
              <p:cNvPr id="63" name="Oval 62">
                <a:extLst>
                  <a:ext uri="{FF2B5EF4-FFF2-40B4-BE49-F238E27FC236}">
                    <a16:creationId xmlns:a16="http://schemas.microsoft.com/office/drawing/2014/main" id="{DB0BE7B2-F9D2-0E54-2DC8-ABDC81E9BD4D}"/>
                  </a:ext>
                </a:extLst>
              </p:cNvPr>
              <p:cNvSpPr/>
              <p:nvPr/>
            </p:nvSpPr>
            <p:spPr>
              <a:xfrm>
                <a:off x="4611057" y="2860669"/>
                <a:ext cx="109728" cy="109728"/>
              </a:xfrm>
              <a:prstGeom prst="ellipse">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72" name="Oval 3071">
                <a:extLst>
                  <a:ext uri="{FF2B5EF4-FFF2-40B4-BE49-F238E27FC236}">
                    <a16:creationId xmlns:a16="http://schemas.microsoft.com/office/drawing/2014/main" id="{19BCC4FD-6610-DE78-8218-08A6816ED950}"/>
                  </a:ext>
                </a:extLst>
              </p:cNvPr>
              <p:cNvSpPr/>
              <p:nvPr/>
            </p:nvSpPr>
            <p:spPr>
              <a:xfrm>
                <a:off x="4793697" y="2909157"/>
                <a:ext cx="109728" cy="109728"/>
              </a:xfrm>
              <a:prstGeom prst="ellipse">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73" name="Oval 3072">
                <a:extLst>
                  <a:ext uri="{FF2B5EF4-FFF2-40B4-BE49-F238E27FC236}">
                    <a16:creationId xmlns:a16="http://schemas.microsoft.com/office/drawing/2014/main" id="{04E2D43C-BA18-D33C-ED63-D6E6EA561637}"/>
                  </a:ext>
                </a:extLst>
              </p:cNvPr>
              <p:cNvSpPr/>
              <p:nvPr/>
            </p:nvSpPr>
            <p:spPr>
              <a:xfrm>
                <a:off x="4611057" y="3054831"/>
                <a:ext cx="118872" cy="118872"/>
              </a:xfrm>
              <a:prstGeom prst="ellipse">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75" name="Oval 3074">
                <a:extLst>
                  <a:ext uri="{FF2B5EF4-FFF2-40B4-BE49-F238E27FC236}">
                    <a16:creationId xmlns:a16="http://schemas.microsoft.com/office/drawing/2014/main" id="{638C7C0D-249E-A422-0AE7-0DFA7356ECE1}"/>
                  </a:ext>
                </a:extLst>
              </p:cNvPr>
              <p:cNvSpPr/>
              <p:nvPr/>
            </p:nvSpPr>
            <p:spPr>
              <a:xfrm>
                <a:off x="4913562" y="3059582"/>
                <a:ext cx="109728" cy="109728"/>
              </a:xfrm>
              <a:prstGeom prst="ellipse">
                <a:avLst/>
              </a:prstGeom>
              <a:solidFill>
                <a:schemeClr val="accent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78" name="Oval 3077">
                <a:extLst>
                  <a:ext uri="{FF2B5EF4-FFF2-40B4-BE49-F238E27FC236}">
                    <a16:creationId xmlns:a16="http://schemas.microsoft.com/office/drawing/2014/main" id="{D6F9C4DF-A28E-1E33-03F1-D66CB89C6F61}"/>
                  </a:ext>
                </a:extLst>
              </p:cNvPr>
              <p:cNvSpPr/>
              <p:nvPr/>
            </p:nvSpPr>
            <p:spPr>
              <a:xfrm>
                <a:off x="4913562" y="3266615"/>
                <a:ext cx="109728" cy="109728"/>
              </a:xfrm>
              <a:prstGeom prst="ellipse">
                <a:avLst/>
              </a:prstGeom>
              <a:solidFill>
                <a:schemeClr val="accent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79" name="Oval 3078">
                <a:extLst>
                  <a:ext uri="{FF2B5EF4-FFF2-40B4-BE49-F238E27FC236}">
                    <a16:creationId xmlns:a16="http://schemas.microsoft.com/office/drawing/2014/main" id="{EEA46857-5BD8-AFC6-D2CC-B5BD528AB863}"/>
                  </a:ext>
                </a:extLst>
              </p:cNvPr>
              <p:cNvSpPr/>
              <p:nvPr/>
            </p:nvSpPr>
            <p:spPr>
              <a:xfrm>
                <a:off x="4776933" y="3418784"/>
                <a:ext cx="109728" cy="109728"/>
              </a:xfrm>
              <a:prstGeom prst="ellipse">
                <a:avLst/>
              </a:prstGeom>
              <a:solidFill>
                <a:schemeClr val="accent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80" name="Oval 3079">
                <a:extLst>
                  <a:ext uri="{FF2B5EF4-FFF2-40B4-BE49-F238E27FC236}">
                    <a16:creationId xmlns:a16="http://schemas.microsoft.com/office/drawing/2014/main" id="{FC549654-3C4C-4FE7-4012-7F67A0AEA4BD}"/>
                  </a:ext>
                </a:extLst>
              </p:cNvPr>
              <p:cNvSpPr/>
              <p:nvPr/>
            </p:nvSpPr>
            <p:spPr>
              <a:xfrm>
                <a:off x="4760886" y="3170086"/>
                <a:ext cx="118872" cy="118872"/>
              </a:xfrm>
              <a:prstGeom prst="ellipse">
                <a:avLst/>
              </a:prstGeom>
              <a:solidFill>
                <a:schemeClr val="accent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81" name="Oval 3080">
                <a:extLst>
                  <a:ext uri="{FF2B5EF4-FFF2-40B4-BE49-F238E27FC236}">
                    <a16:creationId xmlns:a16="http://schemas.microsoft.com/office/drawing/2014/main" id="{CF40653A-866F-10CA-36AD-8EDDD3D0C2BF}"/>
                  </a:ext>
                </a:extLst>
              </p:cNvPr>
              <p:cNvSpPr/>
              <p:nvPr/>
            </p:nvSpPr>
            <p:spPr>
              <a:xfrm>
                <a:off x="4611057" y="3492045"/>
                <a:ext cx="118872" cy="118872"/>
              </a:xfrm>
              <a:prstGeom prst="ellipse">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82" name="Oval 3081">
                <a:extLst>
                  <a:ext uri="{FF2B5EF4-FFF2-40B4-BE49-F238E27FC236}">
                    <a16:creationId xmlns:a16="http://schemas.microsoft.com/office/drawing/2014/main" id="{1CE59798-1D54-B3B9-C5CC-0ADFC8DEBB59}"/>
                  </a:ext>
                </a:extLst>
              </p:cNvPr>
              <p:cNvSpPr/>
              <p:nvPr/>
            </p:nvSpPr>
            <p:spPr>
              <a:xfrm>
                <a:off x="4427360" y="2911697"/>
                <a:ext cx="109728" cy="109728"/>
              </a:xfrm>
              <a:prstGeom prst="ellipse">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83" name="Oval 3082">
                <a:extLst>
                  <a:ext uri="{FF2B5EF4-FFF2-40B4-BE49-F238E27FC236}">
                    <a16:creationId xmlns:a16="http://schemas.microsoft.com/office/drawing/2014/main" id="{844CB17A-4D64-1641-97F0-AE9E574A58C3}"/>
                  </a:ext>
                </a:extLst>
              </p:cNvPr>
              <p:cNvSpPr/>
              <p:nvPr/>
            </p:nvSpPr>
            <p:spPr>
              <a:xfrm>
                <a:off x="4312830" y="3059582"/>
                <a:ext cx="109728" cy="109728"/>
              </a:xfrm>
              <a:prstGeom prst="ellipse">
                <a:avLst/>
              </a:prstGeom>
              <a:solidFill>
                <a:schemeClr val="accent3">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84" name="Oval 3083">
                <a:extLst>
                  <a:ext uri="{FF2B5EF4-FFF2-40B4-BE49-F238E27FC236}">
                    <a16:creationId xmlns:a16="http://schemas.microsoft.com/office/drawing/2014/main" id="{9AC4A02D-CB33-75A1-26D4-7999602225E3}"/>
                  </a:ext>
                </a:extLst>
              </p:cNvPr>
              <p:cNvSpPr/>
              <p:nvPr/>
            </p:nvSpPr>
            <p:spPr>
              <a:xfrm>
                <a:off x="4298738" y="3266615"/>
                <a:ext cx="109728" cy="109728"/>
              </a:xfrm>
              <a:prstGeom prst="ellipse">
                <a:avLst/>
              </a:prstGeom>
              <a:solidFill>
                <a:schemeClr val="accent3">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85" name="Oval 3084">
                <a:extLst>
                  <a:ext uri="{FF2B5EF4-FFF2-40B4-BE49-F238E27FC236}">
                    <a16:creationId xmlns:a16="http://schemas.microsoft.com/office/drawing/2014/main" id="{0084E3F2-4406-4505-7F62-B317D7D3EDCB}"/>
                  </a:ext>
                </a:extLst>
              </p:cNvPr>
              <p:cNvSpPr/>
              <p:nvPr/>
            </p:nvSpPr>
            <p:spPr>
              <a:xfrm>
                <a:off x="4408676" y="3417650"/>
                <a:ext cx="109728" cy="109728"/>
              </a:xfrm>
              <a:prstGeom prst="ellipse">
                <a:avLst/>
              </a:prstGeom>
              <a:solidFill>
                <a:schemeClr val="accent3">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86" name="Oval 3085">
                <a:extLst>
                  <a:ext uri="{FF2B5EF4-FFF2-40B4-BE49-F238E27FC236}">
                    <a16:creationId xmlns:a16="http://schemas.microsoft.com/office/drawing/2014/main" id="{778FAB49-E4C3-7ECF-B019-57BA2F53C4F8}"/>
                  </a:ext>
                </a:extLst>
              </p:cNvPr>
              <p:cNvSpPr/>
              <p:nvPr/>
            </p:nvSpPr>
            <p:spPr>
              <a:xfrm>
                <a:off x="4455227" y="3171767"/>
                <a:ext cx="109728" cy="109728"/>
              </a:xfrm>
              <a:prstGeom prst="ellipse">
                <a:avLst/>
              </a:prstGeom>
              <a:solidFill>
                <a:schemeClr val="accent3">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grpSp>
        <p:nvGrpSpPr>
          <p:cNvPr id="3100" name="Group 3099">
            <a:extLst>
              <a:ext uri="{FF2B5EF4-FFF2-40B4-BE49-F238E27FC236}">
                <a16:creationId xmlns:a16="http://schemas.microsoft.com/office/drawing/2014/main" id="{F32479F2-06D3-BDC9-40A3-0A181C2D3765}"/>
              </a:ext>
            </a:extLst>
          </p:cNvPr>
          <p:cNvGrpSpPr/>
          <p:nvPr/>
        </p:nvGrpSpPr>
        <p:grpSpPr>
          <a:xfrm>
            <a:off x="9649400" y="2811985"/>
            <a:ext cx="1358251" cy="731520"/>
            <a:chOff x="9565224" y="2811985"/>
            <a:chExt cx="1358251" cy="731520"/>
          </a:xfrm>
        </p:grpSpPr>
        <p:pic>
          <p:nvPicPr>
            <p:cNvPr id="3088" name="Graphic 3087">
              <a:extLst>
                <a:ext uri="{FF2B5EF4-FFF2-40B4-BE49-F238E27FC236}">
                  <a16:creationId xmlns:a16="http://schemas.microsoft.com/office/drawing/2014/main" id="{5F0A77EA-7330-EE90-E689-CE0A48CDA829}"/>
                </a:ext>
              </a:extLst>
            </p:cNvPr>
            <p:cNvPicPr>
              <a:picLocks/>
            </p:cNvPicPr>
            <p:nvPr/>
          </p:nvPicPr>
          <p:blipFill>
            <a:blip r:embed="rId9">
              <a:extLst>
                <a:ext uri="{96DAC541-7B7A-43D3-8B79-37D633B846F1}">
                  <asvg:svgBlip xmlns:asvg="http://schemas.microsoft.com/office/drawing/2016/SVG/main" r:embed="rId10"/>
                </a:ext>
              </a:extLst>
            </a:blip>
            <a:stretch>
              <a:fillRect/>
            </a:stretch>
          </p:blipFill>
          <p:spPr>
            <a:xfrm>
              <a:off x="10283395" y="2857705"/>
              <a:ext cx="640080" cy="640080"/>
            </a:xfrm>
            <a:prstGeom prst="rect">
              <a:avLst/>
            </a:prstGeom>
          </p:spPr>
        </p:pic>
        <p:pic>
          <p:nvPicPr>
            <p:cNvPr id="3090" name="Graphic 3089">
              <a:extLst>
                <a:ext uri="{FF2B5EF4-FFF2-40B4-BE49-F238E27FC236}">
                  <a16:creationId xmlns:a16="http://schemas.microsoft.com/office/drawing/2014/main" id="{10295948-1D89-B9ED-2D62-A543D953FC2F}"/>
                </a:ext>
              </a:extLst>
            </p:cNvPr>
            <p:cNvPicPr>
              <a:picLocks/>
            </p:cNvPicPr>
            <p:nvPr/>
          </p:nvPicPr>
          <p:blipFill>
            <a:blip r:embed="rId11">
              <a:extLst>
                <a:ext uri="{96DAC541-7B7A-43D3-8B79-37D633B846F1}">
                  <asvg:svgBlip xmlns:asvg="http://schemas.microsoft.com/office/drawing/2016/SVG/main" r:embed="rId12"/>
                </a:ext>
              </a:extLst>
            </a:blip>
            <a:stretch>
              <a:fillRect/>
            </a:stretch>
          </p:blipFill>
          <p:spPr>
            <a:xfrm>
              <a:off x="9565224" y="2811985"/>
              <a:ext cx="731520" cy="731520"/>
            </a:xfrm>
            <a:prstGeom prst="rect">
              <a:avLst/>
            </a:prstGeom>
          </p:spPr>
        </p:pic>
      </p:grpSp>
      <p:grpSp>
        <p:nvGrpSpPr>
          <p:cNvPr id="3095" name="Group 3094">
            <a:extLst>
              <a:ext uri="{FF2B5EF4-FFF2-40B4-BE49-F238E27FC236}">
                <a16:creationId xmlns:a16="http://schemas.microsoft.com/office/drawing/2014/main" id="{E36A9DE3-EE57-F64E-F5E2-7BE8AEDAAFA1}"/>
              </a:ext>
            </a:extLst>
          </p:cNvPr>
          <p:cNvGrpSpPr/>
          <p:nvPr/>
        </p:nvGrpSpPr>
        <p:grpSpPr>
          <a:xfrm>
            <a:off x="6836634" y="2867850"/>
            <a:ext cx="1297375" cy="640080"/>
            <a:chOff x="6890580" y="2867850"/>
            <a:chExt cx="1297375" cy="640080"/>
          </a:xfrm>
        </p:grpSpPr>
        <p:pic>
          <p:nvPicPr>
            <p:cNvPr id="3089" name="Graphic 3088">
              <a:extLst>
                <a:ext uri="{FF2B5EF4-FFF2-40B4-BE49-F238E27FC236}">
                  <a16:creationId xmlns:a16="http://schemas.microsoft.com/office/drawing/2014/main" id="{4158C88B-4A4D-3B58-9E3F-00067379A314}"/>
                </a:ext>
              </a:extLst>
            </p:cNvPr>
            <p:cNvPicPr>
              <a:picLocks/>
            </p:cNvPicPr>
            <p:nvPr/>
          </p:nvPicPr>
          <p:blipFill>
            <a:blip r:embed="rId13">
              <a:extLst>
                <a:ext uri="{96DAC541-7B7A-43D3-8B79-37D633B846F1}">
                  <asvg:svgBlip xmlns:asvg="http://schemas.microsoft.com/office/drawing/2016/SVG/main" r:embed="rId14"/>
                </a:ext>
              </a:extLst>
            </a:blip>
            <a:stretch>
              <a:fillRect/>
            </a:stretch>
          </p:blipFill>
          <p:spPr>
            <a:xfrm>
              <a:off x="6890580" y="2890710"/>
              <a:ext cx="594360" cy="594360"/>
            </a:xfrm>
            <a:prstGeom prst="rect">
              <a:avLst/>
            </a:prstGeom>
          </p:spPr>
        </p:pic>
        <p:pic>
          <p:nvPicPr>
            <p:cNvPr id="3093" name="Graphic 3092">
              <a:extLst>
                <a:ext uri="{FF2B5EF4-FFF2-40B4-BE49-F238E27FC236}">
                  <a16:creationId xmlns:a16="http://schemas.microsoft.com/office/drawing/2014/main" id="{D8140D19-8692-2C95-23D7-1E3368121659}"/>
                </a:ext>
              </a:extLst>
            </p:cNvPr>
            <p:cNvPicPr>
              <a:picLocks/>
            </p:cNvPicPr>
            <p:nvPr/>
          </p:nvPicPr>
          <p:blipFill>
            <a:blip r:embed="rId15">
              <a:extLst>
                <a:ext uri="{96DAC541-7B7A-43D3-8B79-37D633B846F1}">
                  <asvg:svgBlip xmlns:asvg="http://schemas.microsoft.com/office/drawing/2016/SVG/main" r:embed="rId16"/>
                </a:ext>
              </a:extLst>
            </a:blip>
            <a:stretch>
              <a:fillRect/>
            </a:stretch>
          </p:blipFill>
          <p:spPr>
            <a:xfrm>
              <a:off x="7547875" y="2867850"/>
              <a:ext cx="640080" cy="640080"/>
            </a:xfrm>
            <a:prstGeom prst="rect">
              <a:avLst/>
            </a:prstGeom>
          </p:spPr>
        </p:pic>
      </p:grpSp>
      <p:pic>
        <p:nvPicPr>
          <p:cNvPr id="3098" name="Graphic 3097">
            <a:extLst>
              <a:ext uri="{FF2B5EF4-FFF2-40B4-BE49-F238E27FC236}">
                <a16:creationId xmlns:a16="http://schemas.microsoft.com/office/drawing/2014/main" id="{E43CE0F2-9CE8-1692-6BBF-0F0FD5B759EC}"/>
              </a:ext>
            </a:extLst>
          </p:cNvPr>
          <p:cNvPicPr>
            <a:picLocks/>
          </p:cNvPicPr>
          <p:nvPr/>
        </p:nvPicPr>
        <p:blipFill>
          <a:blip r:embed="rId17">
            <a:extLst>
              <a:ext uri="{96DAC541-7B7A-43D3-8B79-37D633B846F1}">
                <asvg:svgBlip xmlns:asvg="http://schemas.microsoft.com/office/drawing/2016/SVG/main" r:embed="rId18"/>
              </a:ext>
            </a:extLst>
          </a:blip>
          <a:stretch>
            <a:fillRect/>
          </a:stretch>
        </p:blipFill>
        <p:spPr>
          <a:xfrm>
            <a:off x="2154481" y="2857540"/>
            <a:ext cx="731520" cy="731520"/>
          </a:xfrm>
          <a:prstGeom prst="rect">
            <a:avLst/>
          </a:prstGeom>
        </p:spPr>
      </p:pic>
    </p:spTree>
    <p:extLst>
      <p:ext uri="{BB962C8B-B14F-4D97-AF65-F5344CB8AC3E}">
        <p14:creationId xmlns:p14="http://schemas.microsoft.com/office/powerpoint/2010/main" val="8008811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84A8A2-D103-1296-953E-916A113B7288}"/>
              </a:ext>
            </a:extLst>
          </p:cNvPr>
          <p:cNvSpPr>
            <a:spLocks noGrp="1"/>
          </p:cNvSpPr>
          <p:nvPr>
            <p:ph type="title"/>
          </p:nvPr>
        </p:nvSpPr>
        <p:spPr/>
        <p:txBody>
          <a:bodyPr/>
          <a:lstStyle/>
          <a:p>
            <a:r>
              <a:rPr lang="en-US" dirty="0"/>
              <a:t>LLM Strategy for Process Optimization</a:t>
            </a:r>
          </a:p>
        </p:txBody>
      </p:sp>
      <p:sp>
        <p:nvSpPr>
          <p:cNvPr id="4" name="Text Placeholder 3">
            <a:extLst>
              <a:ext uri="{FF2B5EF4-FFF2-40B4-BE49-F238E27FC236}">
                <a16:creationId xmlns:a16="http://schemas.microsoft.com/office/drawing/2014/main" id="{609586FB-FD6D-7BCF-C84A-C482A20AFBDE}"/>
              </a:ext>
            </a:extLst>
          </p:cNvPr>
          <p:cNvSpPr>
            <a:spLocks noGrp="1"/>
          </p:cNvSpPr>
          <p:nvPr>
            <p:ph type="body" sz="quarter" idx="10"/>
          </p:nvPr>
        </p:nvSpPr>
        <p:spPr>
          <a:xfrm>
            <a:off x="542647" y="814367"/>
            <a:ext cx="11098999" cy="498598"/>
          </a:xfrm>
        </p:spPr>
        <p:txBody>
          <a:bodyPr/>
          <a:lstStyle/>
          <a:p>
            <a:r>
              <a:rPr lang="en-US" dirty="0"/>
              <a:t>Redundant processes can be identified using prompt engineering, integrating organizational data, and training models.</a:t>
            </a:r>
          </a:p>
        </p:txBody>
      </p:sp>
      <p:sp>
        <p:nvSpPr>
          <p:cNvPr id="6" name="Freeform 11">
            <a:extLst>
              <a:ext uri="{FF2B5EF4-FFF2-40B4-BE49-F238E27FC236}">
                <a16:creationId xmlns:a16="http://schemas.microsoft.com/office/drawing/2014/main" id="{8010BEE7-461E-7356-D116-4ED56296C5F6}"/>
              </a:ext>
            </a:extLst>
          </p:cNvPr>
          <p:cNvSpPr>
            <a:spLocks/>
          </p:cNvSpPr>
          <p:nvPr>
            <p:custDataLst>
              <p:tags r:id="rId1"/>
            </p:custDataLst>
          </p:nvPr>
        </p:nvSpPr>
        <p:spPr bwMode="auto">
          <a:xfrm>
            <a:off x="5897852" y="4860397"/>
            <a:ext cx="2252569" cy="921570"/>
          </a:xfrm>
          <a:custGeom>
            <a:avLst/>
            <a:gdLst/>
            <a:ahLst/>
            <a:cxnLst>
              <a:cxn ang="0">
                <a:pos x="1200" y="121"/>
              </a:cxn>
              <a:cxn ang="0">
                <a:pos x="1153" y="91"/>
              </a:cxn>
              <a:cxn ang="0">
                <a:pos x="1087" y="75"/>
              </a:cxn>
              <a:cxn ang="0">
                <a:pos x="995" y="67"/>
              </a:cxn>
              <a:cxn ang="0">
                <a:pos x="891" y="76"/>
              </a:cxn>
              <a:cxn ang="0">
                <a:pos x="832" y="57"/>
              </a:cxn>
              <a:cxn ang="0">
                <a:pos x="766" y="21"/>
              </a:cxn>
              <a:cxn ang="0">
                <a:pos x="655" y="1"/>
              </a:cxn>
              <a:cxn ang="0">
                <a:pos x="541" y="5"/>
              </a:cxn>
              <a:cxn ang="0">
                <a:pos x="434" y="33"/>
              </a:cxn>
              <a:cxn ang="0">
                <a:pos x="380" y="67"/>
              </a:cxn>
              <a:cxn ang="0">
                <a:pos x="333" y="82"/>
              </a:cxn>
              <a:cxn ang="0">
                <a:pos x="242" y="91"/>
              </a:cxn>
              <a:cxn ang="0">
                <a:pos x="181" y="127"/>
              </a:cxn>
              <a:cxn ang="0">
                <a:pos x="172" y="166"/>
              </a:cxn>
              <a:cxn ang="0">
                <a:pos x="118" y="168"/>
              </a:cxn>
              <a:cxn ang="0">
                <a:pos x="64" y="185"/>
              </a:cxn>
              <a:cxn ang="0">
                <a:pos x="34" y="202"/>
              </a:cxn>
              <a:cxn ang="0">
                <a:pos x="10" y="230"/>
              </a:cxn>
              <a:cxn ang="0">
                <a:pos x="13" y="254"/>
              </a:cxn>
              <a:cxn ang="0">
                <a:pos x="10" y="286"/>
              </a:cxn>
              <a:cxn ang="0">
                <a:pos x="1" y="316"/>
              </a:cxn>
              <a:cxn ang="0">
                <a:pos x="14" y="347"/>
              </a:cxn>
              <a:cxn ang="0">
                <a:pos x="9" y="381"/>
              </a:cxn>
              <a:cxn ang="0">
                <a:pos x="0" y="412"/>
              </a:cxn>
              <a:cxn ang="0">
                <a:pos x="17" y="450"/>
              </a:cxn>
              <a:cxn ang="0">
                <a:pos x="60" y="477"/>
              </a:cxn>
              <a:cxn ang="0">
                <a:pos x="148" y="495"/>
              </a:cxn>
              <a:cxn ang="0">
                <a:pos x="216" y="484"/>
              </a:cxn>
              <a:cxn ang="0">
                <a:pos x="255" y="509"/>
              </a:cxn>
              <a:cxn ang="0">
                <a:pos x="305" y="525"/>
              </a:cxn>
              <a:cxn ang="0">
                <a:pos x="376" y="536"/>
              </a:cxn>
              <a:cxn ang="0">
                <a:pos x="458" y="529"/>
              </a:cxn>
              <a:cxn ang="0">
                <a:pos x="517" y="536"/>
              </a:cxn>
              <a:cxn ang="0">
                <a:pos x="562" y="557"/>
              </a:cxn>
              <a:cxn ang="0">
                <a:pos x="626" y="567"/>
              </a:cxn>
              <a:cxn ang="0">
                <a:pos x="687" y="564"/>
              </a:cxn>
              <a:cxn ang="0">
                <a:pos x="746" y="545"/>
              </a:cxn>
              <a:cxn ang="0">
                <a:pos x="787" y="564"/>
              </a:cxn>
              <a:cxn ang="0">
                <a:pos x="849" y="576"/>
              </a:cxn>
              <a:cxn ang="0">
                <a:pos x="928" y="569"/>
              </a:cxn>
              <a:cxn ang="0">
                <a:pos x="986" y="544"/>
              </a:cxn>
              <a:cxn ang="0">
                <a:pos x="1033" y="534"/>
              </a:cxn>
              <a:cxn ang="0">
                <a:pos x="1108" y="536"/>
              </a:cxn>
              <a:cxn ang="0">
                <a:pos x="1171" y="519"/>
              </a:cxn>
              <a:cxn ang="0">
                <a:pos x="1212" y="493"/>
              </a:cxn>
              <a:cxn ang="0">
                <a:pos x="1237" y="481"/>
              </a:cxn>
              <a:cxn ang="0">
                <a:pos x="1306" y="477"/>
              </a:cxn>
              <a:cxn ang="0">
                <a:pos x="1369" y="451"/>
              </a:cxn>
              <a:cxn ang="0">
                <a:pos x="1403" y="412"/>
              </a:cxn>
              <a:cxn ang="0">
                <a:pos x="1406" y="365"/>
              </a:cxn>
              <a:cxn ang="0">
                <a:pos x="1420" y="322"/>
              </a:cxn>
              <a:cxn ang="0">
                <a:pos x="1440" y="281"/>
              </a:cxn>
              <a:cxn ang="0">
                <a:pos x="1431" y="234"/>
              </a:cxn>
              <a:cxn ang="0">
                <a:pos x="1386" y="197"/>
              </a:cxn>
              <a:cxn ang="0">
                <a:pos x="1320" y="168"/>
              </a:cxn>
              <a:cxn ang="0">
                <a:pos x="1232" y="153"/>
              </a:cxn>
              <a:cxn ang="0">
                <a:pos x="1211" y="136"/>
              </a:cxn>
            </a:cxnLst>
            <a:rect l="0" t="0" r="r" b="b"/>
            <a:pathLst>
              <a:path w="1441" h="577">
                <a:moveTo>
                  <a:pt x="1211" y="136"/>
                </a:moveTo>
                <a:lnTo>
                  <a:pt x="1200" y="121"/>
                </a:lnTo>
                <a:lnTo>
                  <a:pt x="1181" y="104"/>
                </a:lnTo>
                <a:lnTo>
                  <a:pt x="1153" y="91"/>
                </a:lnTo>
                <a:lnTo>
                  <a:pt x="1117" y="81"/>
                </a:lnTo>
                <a:lnTo>
                  <a:pt x="1087" y="75"/>
                </a:lnTo>
                <a:lnTo>
                  <a:pt x="1050" y="69"/>
                </a:lnTo>
                <a:lnTo>
                  <a:pt x="995" y="67"/>
                </a:lnTo>
                <a:lnTo>
                  <a:pt x="941" y="69"/>
                </a:lnTo>
                <a:lnTo>
                  <a:pt x="891" y="76"/>
                </a:lnTo>
                <a:lnTo>
                  <a:pt x="854" y="84"/>
                </a:lnTo>
                <a:lnTo>
                  <a:pt x="832" y="57"/>
                </a:lnTo>
                <a:lnTo>
                  <a:pt x="804" y="37"/>
                </a:lnTo>
                <a:lnTo>
                  <a:pt x="766" y="21"/>
                </a:lnTo>
                <a:lnTo>
                  <a:pt x="716" y="9"/>
                </a:lnTo>
                <a:lnTo>
                  <a:pt x="655" y="1"/>
                </a:lnTo>
                <a:lnTo>
                  <a:pt x="595" y="0"/>
                </a:lnTo>
                <a:lnTo>
                  <a:pt x="541" y="5"/>
                </a:lnTo>
                <a:lnTo>
                  <a:pt x="480" y="15"/>
                </a:lnTo>
                <a:lnTo>
                  <a:pt x="434" y="33"/>
                </a:lnTo>
                <a:lnTo>
                  <a:pt x="401" y="50"/>
                </a:lnTo>
                <a:lnTo>
                  <a:pt x="380" y="67"/>
                </a:lnTo>
                <a:lnTo>
                  <a:pt x="376" y="89"/>
                </a:lnTo>
                <a:lnTo>
                  <a:pt x="333" y="82"/>
                </a:lnTo>
                <a:lnTo>
                  <a:pt x="283" y="85"/>
                </a:lnTo>
                <a:lnTo>
                  <a:pt x="242" y="91"/>
                </a:lnTo>
                <a:lnTo>
                  <a:pt x="206" y="107"/>
                </a:lnTo>
                <a:lnTo>
                  <a:pt x="181" y="127"/>
                </a:lnTo>
                <a:lnTo>
                  <a:pt x="171" y="150"/>
                </a:lnTo>
                <a:lnTo>
                  <a:pt x="172" y="166"/>
                </a:lnTo>
                <a:lnTo>
                  <a:pt x="148" y="164"/>
                </a:lnTo>
                <a:lnTo>
                  <a:pt x="118" y="168"/>
                </a:lnTo>
                <a:lnTo>
                  <a:pt x="88" y="176"/>
                </a:lnTo>
                <a:lnTo>
                  <a:pt x="64" y="185"/>
                </a:lnTo>
                <a:lnTo>
                  <a:pt x="48" y="192"/>
                </a:lnTo>
                <a:lnTo>
                  <a:pt x="34" y="202"/>
                </a:lnTo>
                <a:lnTo>
                  <a:pt x="18" y="215"/>
                </a:lnTo>
                <a:lnTo>
                  <a:pt x="10" y="230"/>
                </a:lnTo>
                <a:lnTo>
                  <a:pt x="9" y="242"/>
                </a:lnTo>
                <a:lnTo>
                  <a:pt x="13" y="254"/>
                </a:lnTo>
                <a:lnTo>
                  <a:pt x="23" y="270"/>
                </a:lnTo>
                <a:lnTo>
                  <a:pt x="10" y="286"/>
                </a:lnTo>
                <a:lnTo>
                  <a:pt x="4" y="300"/>
                </a:lnTo>
                <a:lnTo>
                  <a:pt x="1" y="316"/>
                </a:lnTo>
                <a:lnTo>
                  <a:pt x="9" y="336"/>
                </a:lnTo>
                <a:lnTo>
                  <a:pt x="14" y="347"/>
                </a:lnTo>
                <a:lnTo>
                  <a:pt x="30" y="361"/>
                </a:lnTo>
                <a:lnTo>
                  <a:pt x="9" y="381"/>
                </a:lnTo>
                <a:lnTo>
                  <a:pt x="1" y="393"/>
                </a:lnTo>
                <a:lnTo>
                  <a:pt x="0" y="412"/>
                </a:lnTo>
                <a:lnTo>
                  <a:pt x="4" y="429"/>
                </a:lnTo>
                <a:lnTo>
                  <a:pt x="17" y="450"/>
                </a:lnTo>
                <a:lnTo>
                  <a:pt x="34" y="464"/>
                </a:lnTo>
                <a:lnTo>
                  <a:pt x="60" y="477"/>
                </a:lnTo>
                <a:lnTo>
                  <a:pt x="102" y="490"/>
                </a:lnTo>
                <a:lnTo>
                  <a:pt x="148" y="495"/>
                </a:lnTo>
                <a:lnTo>
                  <a:pt x="189" y="491"/>
                </a:lnTo>
                <a:lnTo>
                  <a:pt x="216" y="484"/>
                </a:lnTo>
                <a:lnTo>
                  <a:pt x="235" y="498"/>
                </a:lnTo>
                <a:lnTo>
                  <a:pt x="255" y="509"/>
                </a:lnTo>
                <a:lnTo>
                  <a:pt x="272" y="516"/>
                </a:lnTo>
                <a:lnTo>
                  <a:pt x="305" y="525"/>
                </a:lnTo>
                <a:lnTo>
                  <a:pt x="333" y="531"/>
                </a:lnTo>
                <a:lnTo>
                  <a:pt x="376" y="536"/>
                </a:lnTo>
                <a:lnTo>
                  <a:pt x="417" y="535"/>
                </a:lnTo>
                <a:lnTo>
                  <a:pt x="458" y="529"/>
                </a:lnTo>
                <a:lnTo>
                  <a:pt x="495" y="518"/>
                </a:lnTo>
                <a:lnTo>
                  <a:pt x="517" y="536"/>
                </a:lnTo>
                <a:lnTo>
                  <a:pt x="536" y="547"/>
                </a:lnTo>
                <a:lnTo>
                  <a:pt x="562" y="557"/>
                </a:lnTo>
                <a:lnTo>
                  <a:pt x="592" y="564"/>
                </a:lnTo>
                <a:lnTo>
                  <a:pt x="626" y="567"/>
                </a:lnTo>
                <a:lnTo>
                  <a:pt x="657" y="567"/>
                </a:lnTo>
                <a:lnTo>
                  <a:pt x="687" y="564"/>
                </a:lnTo>
                <a:lnTo>
                  <a:pt x="724" y="554"/>
                </a:lnTo>
                <a:lnTo>
                  <a:pt x="746" y="545"/>
                </a:lnTo>
                <a:lnTo>
                  <a:pt x="766" y="557"/>
                </a:lnTo>
                <a:lnTo>
                  <a:pt x="787" y="564"/>
                </a:lnTo>
                <a:lnTo>
                  <a:pt x="812" y="571"/>
                </a:lnTo>
                <a:lnTo>
                  <a:pt x="849" y="576"/>
                </a:lnTo>
                <a:lnTo>
                  <a:pt x="888" y="574"/>
                </a:lnTo>
                <a:lnTo>
                  <a:pt x="928" y="569"/>
                </a:lnTo>
                <a:lnTo>
                  <a:pt x="958" y="560"/>
                </a:lnTo>
                <a:lnTo>
                  <a:pt x="986" y="544"/>
                </a:lnTo>
                <a:lnTo>
                  <a:pt x="1003" y="529"/>
                </a:lnTo>
                <a:lnTo>
                  <a:pt x="1033" y="534"/>
                </a:lnTo>
                <a:lnTo>
                  <a:pt x="1067" y="538"/>
                </a:lnTo>
                <a:lnTo>
                  <a:pt x="1108" y="536"/>
                </a:lnTo>
                <a:lnTo>
                  <a:pt x="1144" y="529"/>
                </a:lnTo>
                <a:lnTo>
                  <a:pt x="1171" y="519"/>
                </a:lnTo>
                <a:lnTo>
                  <a:pt x="1194" y="509"/>
                </a:lnTo>
                <a:lnTo>
                  <a:pt x="1212" y="493"/>
                </a:lnTo>
                <a:lnTo>
                  <a:pt x="1217" y="477"/>
                </a:lnTo>
                <a:lnTo>
                  <a:pt x="1237" y="481"/>
                </a:lnTo>
                <a:lnTo>
                  <a:pt x="1269" y="481"/>
                </a:lnTo>
                <a:lnTo>
                  <a:pt x="1306" y="477"/>
                </a:lnTo>
                <a:lnTo>
                  <a:pt x="1343" y="466"/>
                </a:lnTo>
                <a:lnTo>
                  <a:pt x="1369" y="451"/>
                </a:lnTo>
                <a:lnTo>
                  <a:pt x="1390" y="432"/>
                </a:lnTo>
                <a:lnTo>
                  <a:pt x="1403" y="412"/>
                </a:lnTo>
                <a:lnTo>
                  <a:pt x="1407" y="384"/>
                </a:lnTo>
                <a:lnTo>
                  <a:pt x="1406" y="365"/>
                </a:lnTo>
                <a:lnTo>
                  <a:pt x="1394" y="338"/>
                </a:lnTo>
                <a:lnTo>
                  <a:pt x="1420" y="322"/>
                </a:lnTo>
                <a:lnTo>
                  <a:pt x="1433" y="302"/>
                </a:lnTo>
                <a:lnTo>
                  <a:pt x="1440" y="281"/>
                </a:lnTo>
                <a:lnTo>
                  <a:pt x="1440" y="258"/>
                </a:lnTo>
                <a:lnTo>
                  <a:pt x="1431" y="234"/>
                </a:lnTo>
                <a:lnTo>
                  <a:pt x="1414" y="216"/>
                </a:lnTo>
                <a:lnTo>
                  <a:pt x="1386" y="197"/>
                </a:lnTo>
                <a:lnTo>
                  <a:pt x="1356" y="182"/>
                </a:lnTo>
                <a:lnTo>
                  <a:pt x="1320" y="168"/>
                </a:lnTo>
                <a:lnTo>
                  <a:pt x="1275" y="159"/>
                </a:lnTo>
                <a:lnTo>
                  <a:pt x="1232" y="153"/>
                </a:lnTo>
                <a:lnTo>
                  <a:pt x="1212" y="151"/>
                </a:lnTo>
                <a:lnTo>
                  <a:pt x="1211" y="136"/>
                </a:lnTo>
              </a:path>
            </a:pathLst>
          </a:custGeom>
          <a:solidFill>
            <a:schemeClr val="tx2">
              <a:lumMod val="40000"/>
              <a:lumOff val="60000"/>
            </a:schemeClr>
          </a:solidFill>
          <a:ln w="12700" cap="rnd" cmpd="sng">
            <a:solidFill>
              <a:schemeClr val="tx1"/>
            </a:solidFill>
            <a:prstDash val="solid"/>
            <a:round/>
            <a:headEnd type="none" w="med" len="med"/>
            <a:tailEnd type="none" w="med" len="med"/>
          </a:ln>
          <a:effectLst/>
        </p:spPr>
        <p:txBody>
          <a:bodyPr/>
          <a:lstStyle/>
          <a:p>
            <a:endParaRPr lang="en-US"/>
          </a:p>
        </p:txBody>
      </p:sp>
      <p:graphicFrame>
        <p:nvGraphicFramePr>
          <p:cNvPr id="7" name="Diagram 6">
            <a:extLst>
              <a:ext uri="{FF2B5EF4-FFF2-40B4-BE49-F238E27FC236}">
                <a16:creationId xmlns:a16="http://schemas.microsoft.com/office/drawing/2014/main" id="{E6BDBAD3-306A-7256-AA48-A1D084DD843A}"/>
              </a:ext>
            </a:extLst>
          </p:cNvPr>
          <p:cNvGraphicFramePr/>
          <p:nvPr>
            <p:extLst>
              <p:ext uri="{D42A27DB-BD31-4B8C-83A1-F6EECF244321}">
                <p14:modId xmlns:p14="http://schemas.microsoft.com/office/powerpoint/2010/main" val="2409565649"/>
              </p:ext>
            </p:extLst>
          </p:nvPr>
        </p:nvGraphicFramePr>
        <p:xfrm>
          <a:off x="5718427" y="3399594"/>
          <a:ext cx="2512322" cy="220895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Box 7">
            <a:extLst>
              <a:ext uri="{FF2B5EF4-FFF2-40B4-BE49-F238E27FC236}">
                <a16:creationId xmlns:a16="http://schemas.microsoft.com/office/drawing/2014/main" id="{4D45A493-8BA9-A65E-DD04-FC0158BE5167}"/>
              </a:ext>
            </a:extLst>
          </p:cNvPr>
          <p:cNvSpPr txBox="1"/>
          <p:nvPr/>
        </p:nvSpPr>
        <p:spPr>
          <a:xfrm>
            <a:off x="3768062" y="1533420"/>
            <a:ext cx="1361270" cy="307777"/>
          </a:xfrm>
          <a:prstGeom prst="rect">
            <a:avLst/>
          </a:prstGeom>
          <a:noFill/>
        </p:spPr>
        <p:txBody>
          <a:bodyPr wrap="none" rtlCol="0">
            <a:spAutoFit/>
          </a:bodyPr>
          <a:lstStyle/>
          <a:p>
            <a:pPr algn="l"/>
            <a:r>
              <a:rPr lang="en-US" sz="1400" b="1"/>
              <a:t>Process Maps</a:t>
            </a:r>
          </a:p>
        </p:txBody>
      </p:sp>
      <p:sp>
        <p:nvSpPr>
          <p:cNvPr id="9" name="TextBox 8">
            <a:extLst>
              <a:ext uri="{FF2B5EF4-FFF2-40B4-BE49-F238E27FC236}">
                <a16:creationId xmlns:a16="http://schemas.microsoft.com/office/drawing/2014/main" id="{7C20614E-2CC5-7006-EC0F-AC4DA726362A}"/>
              </a:ext>
            </a:extLst>
          </p:cNvPr>
          <p:cNvSpPr txBox="1"/>
          <p:nvPr/>
        </p:nvSpPr>
        <p:spPr>
          <a:xfrm>
            <a:off x="9709832" y="1533419"/>
            <a:ext cx="1141659" cy="307777"/>
          </a:xfrm>
          <a:prstGeom prst="rect">
            <a:avLst/>
          </a:prstGeom>
          <a:noFill/>
        </p:spPr>
        <p:txBody>
          <a:bodyPr wrap="none" rtlCol="0">
            <a:spAutoFit/>
          </a:bodyPr>
          <a:lstStyle/>
          <a:p>
            <a:pPr algn="l"/>
            <a:r>
              <a:rPr lang="en-US" sz="1400" b="1"/>
              <a:t>Meta Data</a:t>
            </a:r>
          </a:p>
        </p:txBody>
      </p:sp>
      <p:sp>
        <p:nvSpPr>
          <p:cNvPr id="10" name="TextBox 9">
            <a:extLst>
              <a:ext uri="{FF2B5EF4-FFF2-40B4-BE49-F238E27FC236}">
                <a16:creationId xmlns:a16="http://schemas.microsoft.com/office/drawing/2014/main" id="{66735C49-B9B2-094F-882F-D6B2689E8F6D}"/>
              </a:ext>
            </a:extLst>
          </p:cNvPr>
          <p:cNvSpPr txBox="1"/>
          <p:nvPr/>
        </p:nvSpPr>
        <p:spPr>
          <a:xfrm>
            <a:off x="9308695" y="4850631"/>
            <a:ext cx="1869423" cy="307777"/>
          </a:xfrm>
          <a:prstGeom prst="rect">
            <a:avLst/>
          </a:prstGeom>
          <a:noFill/>
        </p:spPr>
        <p:txBody>
          <a:bodyPr wrap="none" rtlCol="0">
            <a:spAutoFit/>
          </a:bodyPr>
          <a:lstStyle/>
          <a:p>
            <a:pPr algn="l"/>
            <a:r>
              <a:rPr lang="en-US" sz="1400" b="1"/>
              <a:t>Query with Prompts</a:t>
            </a:r>
          </a:p>
        </p:txBody>
      </p:sp>
      <p:sp>
        <p:nvSpPr>
          <p:cNvPr id="11" name="Line 14">
            <a:extLst>
              <a:ext uri="{FF2B5EF4-FFF2-40B4-BE49-F238E27FC236}">
                <a16:creationId xmlns:a16="http://schemas.microsoft.com/office/drawing/2014/main" id="{9BB636F7-B34E-422F-3C3E-8D530C25E1D2}"/>
              </a:ext>
            </a:extLst>
          </p:cNvPr>
          <p:cNvSpPr>
            <a:spLocks noChangeShapeType="1"/>
          </p:cNvSpPr>
          <p:nvPr/>
        </p:nvSpPr>
        <p:spPr bwMode="auto">
          <a:xfrm rot="5400000">
            <a:off x="8472491" y="4884947"/>
            <a:ext cx="0" cy="947276"/>
          </a:xfrm>
          <a:prstGeom prst="line">
            <a:avLst/>
          </a:prstGeom>
          <a:noFill/>
          <a:ln w="19050">
            <a:solidFill>
              <a:schemeClr val="accent1"/>
            </a:solidFill>
            <a:round/>
            <a:headEnd/>
            <a:tailEnd type="triangle" w="med" len="med"/>
          </a:ln>
          <a:effectLst/>
        </p:spPr>
        <p:txBody>
          <a:bodyPr wrap="none" lIns="0" tIns="0" rIns="0" bIns="0" anchor="ctr"/>
          <a:lstStyle/>
          <a:p>
            <a:endParaRPr lang="de-DE"/>
          </a:p>
        </p:txBody>
      </p:sp>
      <p:sp>
        <p:nvSpPr>
          <p:cNvPr id="12" name="TextBox 11">
            <a:extLst>
              <a:ext uri="{FF2B5EF4-FFF2-40B4-BE49-F238E27FC236}">
                <a16:creationId xmlns:a16="http://schemas.microsoft.com/office/drawing/2014/main" id="{27D9BBD4-340E-106D-B353-6B67B2E379BA}"/>
              </a:ext>
            </a:extLst>
          </p:cNvPr>
          <p:cNvSpPr txBox="1"/>
          <p:nvPr/>
        </p:nvSpPr>
        <p:spPr>
          <a:xfrm>
            <a:off x="9308695" y="5158408"/>
            <a:ext cx="2103178" cy="707886"/>
          </a:xfrm>
          <a:prstGeom prst="rect">
            <a:avLst/>
          </a:prstGeom>
          <a:noFill/>
        </p:spPr>
        <p:txBody>
          <a:bodyPr wrap="square" rtlCol="0">
            <a:spAutoFit/>
          </a:bodyPr>
          <a:lstStyle/>
          <a:p>
            <a:pPr algn="l"/>
            <a:r>
              <a:rPr lang="en-US" sz="1000" dirty="0"/>
              <a:t>For example, retrieve all procedures where [process] includes “credit check,” “TransUnion,” and “Bankruptcy.”</a:t>
            </a:r>
          </a:p>
        </p:txBody>
      </p:sp>
      <p:sp>
        <p:nvSpPr>
          <p:cNvPr id="13" name="TextBox 12">
            <a:extLst>
              <a:ext uri="{FF2B5EF4-FFF2-40B4-BE49-F238E27FC236}">
                <a16:creationId xmlns:a16="http://schemas.microsoft.com/office/drawing/2014/main" id="{76BB443E-BA01-F3EF-D7E1-A1EC81A5B47B}"/>
              </a:ext>
            </a:extLst>
          </p:cNvPr>
          <p:cNvSpPr txBox="1"/>
          <p:nvPr/>
        </p:nvSpPr>
        <p:spPr>
          <a:xfrm>
            <a:off x="1850642" y="5081585"/>
            <a:ext cx="1662934" cy="861774"/>
          </a:xfrm>
          <a:prstGeom prst="rect">
            <a:avLst/>
          </a:prstGeom>
          <a:noFill/>
        </p:spPr>
        <p:txBody>
          <a:bodyPr wrap="square" rtlCol="0">
            <a:spAutoFit/>
          </a:bodyPr>
          <a:lstStyle/>
          <a:p>
            <a:pPr algn="l"/>
            <a:r>
              <a:rPr lang="en-US" sz="1000" i="1" dirty="0"/>
              <a:t>With a frequency of X, LLMs will consistently learn and enhance their performance from 70% to 80% over the same period.</a:t>
            </a:r>
          </a:p>
        </p:txBody>
      </p:sp>
      <p:pic>
        <p:nvPicPr>
          <p:cNvPr id="14" name="Picture 13">
            <a:extLst>
              <a:ext uri="{FF2B5EF4-FFF2-40B4-BE49-F238E27FC236}">
                <a16:creationId xmlns:a16="http://schemas.microsoft.com/office/drawing/2014/main" id="{13D7E32A-1619-6E45-945C-6029DFB691C6}"/>
              </a:ext>
            </a:extLst>
          </p:cNvPr>
          <p:cNvPicPr>
            <a:picLocks noChangeAspect="1"/>
          </p:cNvPicPr>
          <p:nvPr/>
        </p:nvPicPr>
        <p:blipFill>
          <a:blip r:embed="rId8"/>
          <a:stretch>
            <a:fillRect/>
          </a:stretch>
        </p:blipFill>
        <p:spPr>
          <a:xfrm>
            <a:off x="3626524" y="1929308"/>
            <a:ext cx="1680921" cy="1003154"/>
          </a:xfrm>
          <a:prstGeom prst="rect">
            <a:avLst/>
          </a:prstGeom>
        </p:spPr>
      </p:pic>
      <p:pic>
        <p:nvPicPr>
          <p:cNvPr id="15" name="Picture 14">
            <a:extLst>
              <a:ext uri="{FF2B5EF4-FFF2-40B4-BE49-F238E27FC236}">
                <a16:creationId xmlns:a16="http://schemas.microsoft.com/office/drawing/2014/main" id="{4699AEDA-981D-9EEA-78C6-83D714E50C24}"/>
              </a:ext>
            </a:extLst>
          </p:cNvPr>
          <p:cNvPicPr>
            <a:picLocks noChangeAspect="1"/>
          </p:cNvPicPr>
          <p:nvPr/>
        </p:nvPicPr>
        <p:blipFill>
          <a:blip r:embed="rId9"/>
          <a:stretch>
            <a:fillRect/>
          </a:stretch>
        </p:blipFill>
        <p:spPr>
          <a:xfrm>
            <a:off x="6428447" y="1891527"/>
            <a:ext cx="1432684" cy="1329043"/>
          </a:xfrm>
          <a:prstGeom prst="rect">
            <a:avLst/>
          </a:prstGeom>
          <a:effectLst>
            <a:outerShdw blurRad="50800" dist="38100" dir="2700000" algn="tl" rotWithShape="0">
              <a:prstClr val="black">
                <a:alpha val="40000"/>
              </a:prstClr>
            </a:outerShdw>
          </a:effectLst>
        </p:spPr>
      </p:pic>
      <p:pic>
        <p:nvPicPr>
          <p:cNvPr id="16" name="Picture 15">
            <a:extLst>
              <a:ext uri="{FF2B5EF4-FFF2-40B4-BE49-F238E27FC236}">
                <a16:creationId xmlns:a16="http://schemas.microsoft.com/office/drawing/2014/main" id="{AB2D28E4-B848-C4E2-4E13-899403702996}"/>
              </a:ext>
            </a:extLst>
          </p:cNvPr>
          <p:cNvPicPr>
            <a:picLocks noChangeAspect="1"/>
          </p:cNvPicPr>
          <p:nvPr/>
        </p:nvPicPr>
        <p:blipFill>
          <a:blip r:embed="rId10"/>
          <a:stretch>
            <a:fillRect/>
          </a:stretch>
        </p:blipFill>
        <p:spPr>
          <a:xfrm>
            <a:off x="8730993" y="1965323"/>
            <a:ext cx="2856724" cy="979223"/>
          </a:xfrm>
          <a:prstGeom prst="rect">
            <a:avLst/>
          </a:prstGeom>
          <a:effectLst>
            <a:outerShdw blurRad="50800" dist="38100" dir="2700000" algn="tl" rotWithShape="0">
              <a:prstClr val="black">
                <a:alpha val="40000"/>
              </a:prstClr>
            </a:outerShdw>
          </a:effectLst>
        </p:spPr>
      </p:pic>
      <p:sp>
        <p:nvSpPr>
          <p:cNvPr id="17" name="Left Brace 16">
            <a:extLst>
              <a:ext uri="{FF2B5EF4-FFF2-40B4-BE49-F238E27FC236}">
                <a16:creationId xmlns:a16="http://schemas.microsoft.com/office/drawing/2014/main" id="{3BCF0BD8-FC5B-35E1-9432-9C8C1178F73B}"/>
              </a:ext>
            </a:extLst>
          </p:cNvPr>
          <p:cNvSpPr/>
          <p:nvPr/>
        </p:nvSpPr>
        <p:spPr>
          <a:xfrm>
            <a:off x="1597489" y="1784833"/>
            <a:ext cx="438911" cy="1329043"/>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 name="TextBox 17">
            <a:extLst>
              <a:ext uri="{FF2B5EF4-FFF2-40B4-BE49-F238E27FC236}">
                <a16:creationId xmlns:a16="http://schemas.microsoft.com/office/drawing/2014/main" id="{E3613A2D-F830-12C1-CD40-919FA7304C44}"/>
              </a:ext>
            </a:extLst>
          </p:cNvPr>
          <p:cNvSpPr txBox="1"/>
          <p:nvPr/>
        </p:nvSpPr>
        <p:spPr>
          <a:xfrm>
            <a:off x="564296" y="2238836"/>
            <a:ext cx="1004535" cy="400110"/>
          </a:xfrm>
          <a:prstGeom prst="rect">
            <a:avLst/>
          </a:prstGeom>
          <a:noFill/>
        </p:spPr>
        <p:txBody>
          <a:bodyPr wrap="square" rtlCol="0">
            <a:spAutoFit/>
          </a:bodyPr>
          <a:lstStyle/>
          <a:p>
            <a:pPr algn="l"/>
            <a:r>
              <a:rPr lang="en-US" sz="1000" b="1" i="1"/>
              <a:t>Information </a:t>
            </a:r>
          </a:p>
          <a:p>
            <a:pPr algn="l"/>
            <a:r>
              <a:rPr lang="en-US" sz="1000" b="1" i="1"/>
              <a:t>Procurement</a:t>
            </a:r>
          </a:p>
        </p:txBody>
      </p:sp>
      <p:sp>
        <p:nvSpPr>
          <p:cNvPr id="19" name="Left Brace 18">
            <a:extLst>
              <a:ext uri="{FF2B5EF4-FFF2-40B4-BE49-F238E27FC236}">
                <a16:creationId xmlns:a16="http://schemas.microsoft.com/office/drawing/2014/main" id="{6090581E-155A-E782-FEBB-968BBB3C4F9D}"/>
              </a:ext>
            </a:extLst>
          </p:cNvPr>
          <p:cNvSpPr/>
          <p:nvPr/>
        </p:nvSpPr>
        <p:spPr>
          <a:xfrm>
            <a:off x="1568831" y="3248301"/>
            <a:ext cx="438911" cy="1329043"/>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 name="TextBox 19">
            <a:extLst>
              <a:ext uri="{FF2B5EF4-FFF2-40B4-BE49-F238E27FC236}">
                <a16:creationId xmlns:a16="http://schemas.microsoft.com/office/drawing/2014/main" id="{F9002F55-218E-4E93-CD23-311F9795C7DF}"/>
              </a:ext>
            </a:extLst>
          </p:cNvPr>
          <p:cNvSpPr txBox="1"/>
          <p:nvPr/>
        </p:nvSpPr>
        <p:spPr>
          <a:xfrm>
            <a:off x="484632" y="3712768"/>
            <a:ext cx="1127809" cy="400110"/>
          </a:xfrm>
          <a:prstGeom prst="rect">
            <a:avLst/>
          </a:prstGeom>
          <a:noFill/>
        </p:spPr>
        <p:txBody>
          <a:bodyPr wrap="square" rtlCol="0">
            <a:spAutoFit/>
          </a:bodyPr>
          <a:lstStyle/>
          <a:p>
            <a:pPr algn="l"/>
            <a:r>
              <a:rPr lang="en-US" sz="1000" b="1" i="1"/>
              <a:t>Data Ingestion &amp; Persona Dev</a:t>
            </a:r>
          </a:p>
        </p:txBody>
      </p:sp>
      <p:sp>
        <p:nvSpPr>
          <p:cNvPr id="21" name="Left Brace 20">
            <a:extLst>
              <a:ext uri="{FF2B5EF4-FFF2-40B4-BE49-F238E27FC236}">
                <a16:creationId xmlns:a16="http://schemas.microsoft.com/office/drawing/2014/main" id="{E5D0F020-C411-4FDE-F139-B43374C6316E}"/>
              </a:ext>
            </a:extLst>
          </p:cNvPr>
          <p:cNvSpPr/>
          <p:nvPr/>
        </p:nvSpPr>
        <p:spPr>
          <a:xfrm>
            <a:off x="1568831" y="4694063"/>
            <a:ext cx="438911" cy="1329043"/>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2" name="TextBox 21">
            <a:extLst>
              <a:ext uri="{FF2B5EF4-FFF2-40B4-BE49-F238E27FC236}">
                <a16:creationId xmlns:a16="http://schemas.microsoft.com/office/drawing/2014/main" id="{1746E236-D6F1-7586-C6CF-E5443A7B7214}"/>
              </a:ext>
            </a:extLst>
          </p:cNvPr>
          <p:cNvSpPr txBox="1"/>
          <p:nvPr/>
        </p:nvSpPr>
        <p:spPr>
          <a:xfrm>
            <a:off x="484632" y="5175897"/>
            <a:ext cx="1030040" cy="400110"/>
          </a:xfrm>
          <a:prstGeom prst="rect">
            <a:avLst/>
          </a:prstGeom>
          <a:noFill/>
        </p:spPr>
        <p:txBody>
          <a:bodyPr wrap="square" rtlCol="0">
            <a:spAutoFit/>
          </a:bodyPr>
          <a:lstStyle/>
          <a:p>
            <a:pPr algn="l"/>
            <a:r>
              <a:rPr lang="en-US" sz="1000" b="1" i="1"/>
              <a:t>Prompt Engineering </a:t>
            </a:r>
          </a:p>
        </p:txBody>
      </p:sp>
      <p:sp>
        <p:nvSpPr>
          <p:cNvPr id="23" name="TextBox 22">
            <a:extLst>
              <a:ext uri="{FF2B5EF4-FFF2-40B4-BE49-F238E27FC236}">
                <a16:creationId xmlns:a16="http://schemas.microsoft.com/office/drawing/2014/main" id="{D9B90160-6096-8858-506D-F163841DCB5C}"/>
              </a:ext>
            </a:extLst>
          </p:cNvPr>
          <p:cNvSpPr txBox="1"/>
          <p:nvPr/>
        </p:nvSpPr>
        <p:spPr>
          <a:xfrm>
            <a:off x="9337935" y="3615770"/>
            <a:ext cx="2103178" cy="246221"/>
          </a:xfrm>
          <a:prstGeom prst="rect">
            <a:avLst/>
          </a:prstGeom>
          <a:noFill/>
        </p:spPr>
        <p:txBody>
          <a:bodyPr wrap="square" rtlCol="0">
            <a:spAutoFit/>
          </a:bodyPr>
          <a:lstStyle/>
          <a:p>
            <a:pPr algn="l"/>
            <a:endParaRPr lang="en-US" sz="1000" i="1"/>
          </a:p>
        </p:txBody>
      </p:sp>
      <p:pic>
        <p:nvPicPr>
          <p:cNvPr id="24" name="Picture 23">
            <a:extLst>
              <a:ext uri="{FF2B5EF4-FFF2-40B4-BE49-F238E27FC236}">
                <a16:creationId xmlns:a16="http://schemas.microsoft.com/office/drawing/2014/main" id="{98856B03-CF18-2FD0-8CDD-2DC25FEE96DC}"/>
              </a:ext>
            </a:extLst>
          </p:cNvPr>
          <p:cNvPicPr>
            <a:picLocks noChangeAspect="1"/>
          </p:cNvPicPr>
          <p:nvPr/>
        </p:nvPicPr>
        <p:blipFill>
          <a:blip r:embed="rId8"/>
          <a:stretch>
            <a:fillRect/>
          </a:stretch>
        </p:blipFill>
        <p:spPr>
          <a:xfrm>
            <a:off x="3651224" y="1929308"/>
            <a:ext cx="1680921" cy="1003154"/>
          </a:xfrm>
          <a:prstGeom prst="rect">
            <a:avLst/>
          </a:prstGeom>
          <a:effectLst>
            <a:outerShdw blurRad="50800" dist="38100" dir="2700000" algn="tl" rotWithShape="0">
              <a:prstClr val="black">
                <a:alpha val="40000"/>
              </a:prstClr>
            </a:outerShdw>
          </a:effectLst>
        </p:spPr>
      </p:pic>
      <p:sp>
        <p:nvSpPr>
          <p:cNvPr id="25" name="TextBox 24">
            <a:extLst>
              <a:ext uri="{FF2B5EF4-FFF2-40B4-BE49-F238E27FC236}">
                <a16:creationId xmlns:a16="http://schemas.microsoft.com/office/drawing/2014/main" id="{426DEB4C-41C0-A922-57DF-3D69527C1199}"/>
              </a:ext>
            </a:extLst>
          </p:cNvPr>
          <p:cNvSpPr txBox="1"/>
          <p:nvPr/>
        </p:nvSpPr>
        <p:spPr>
          <a:xfrm>
            <a:off x="1850642" y="2172355"/>
            <a:ext cx="1662934" cy="553998"/>
          </a:xfrm>
          <a:prstGeom prst="rect">
            <a:avLst/>
          </a:prstGeom>
          <a:noFill/>
        </p:spPr>
        <p:txBody>
          <a:bodyPr wrap="square" rtlCol="0">
            <a:spAutoFit/>
          </a:bodyPr>
          <a:lstStyle/>
          <a:p>
            <a:pPr algn="ctr"/>
            <a:r>
              <a:rPr lang="en-US" sz="1000" i="1" dirty="0"/>
              <a:t>Information is meticulously chosen to train and educate the LLM.</a:t>
            </a:r>
          </a:p>
        </p:txBody>
      </p:sp>
      <p:sp>
        <p:nvSpPr>
          <p:cNvPr id="26" name="TextBox 25">
            <a:extLst>
              <a:ext uri="{FF2B5EF4-FFF2-40B4-BE49-F238E27FC236}">
                <a16:creationId xmlns:a16="http://schemas.microsoft.com/office/drawing/2014/main" id="{689A53CF-7591-2CE6-F03B-6D4C1BDDFDE0}"/>
              </a:ext>
            </a:extLst>
          </p:cNvPr>
          <p:cNvSpPr txBox="1"/>
          <p:nvPr/>
        </p:nvSpPr>
        <p:spPr>
          <a:xfrm>
            <a:off x="1850642" y="3580244"/>
            <a:ext cx="1662934" cy="861774"/>
          </a:xfrm>
          <a:prstGeom prst="rect">
            <a:avLst/>
          </a:prstGeom>
          <a:noFill/>
        </p:spPr>
        <p:txBody>
          <a:bodyPr wrap="square" rtlCol="0">
            <a:spAutoFit/>
          </a:bodyPr>
          <a:lstStyle/>
          <a:p>
            <a:pPr algn="ctr"/>
            <a:r>
              <a:rPr lang="en-US" sz="1000" i="1" dirty="0"/>
              <a:t>The LLM's character is tailored to align with the designated activities, and the LLM is set up accordingly.</a:t>
            </a:r>
          </a:p>
        </p:txBody>
      </p:sp>
      <p:cxnSp>
        <p:nvCxnSpPr>
          <p:cNvPr id="27" name="Straight Arrow Connector 26">
            <a:extLst>
              <a:ext uri="{FF2B5EF4-FFF2-40B4-BE49-F238E27FC236}">
                <a16:creationId xmlns:a16="http://schemas.microsoft.com/office/drawing/2014/main" id="{12F9EBD0-56F2-DC02-FC94-7E6870FF120C}"/>
              </a:ext>
            </a:extLst>
          </p:cNvPr>
          <p:cNvCxnSpPr>
            <a:cxnSpLocks/>
            <a:stCxn id="24" idx="2"/>
          </p:cNvCxnSpPr>
          <p:nvPr/>
        </p:nvCxnSpPr>
        <p:spPr>
          <a:xfrm>
            <a:off x="4491685" y="2932462"/>
            <a:ext cx="1936762" cy="92478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E9643066-88E0-962F-F44B-73040D3E6784}"/>
              </a:ext>
            </a:extLst>
          </p:cNvPr>
          <p:cNvCxnSpPr>
            <a:stCxn id="15" idx="2"/>
          </p:cNvCxnSpPr>
          <p:nvPr/>
        </p:nvCxnSpPr>
        <p:spPr>
          <a:xfrm>
            <a:off x="7144789" y="3220570"/>
            <a:ext cx="0" cy="3952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B0DE0314-9586-17D7-C447-3F6AF190AEE3}"/>
              </a:ext>
            </a:extLst>
          </p:cNvPr>
          <p:cNvCxnSpPr>
            <a:stCxn id="16" idx="2"/>
          </p:cNvCxnSpPr>
          <p:nvPr/>
        </p:nvCxnSpPr>
        <p:spPr>
          <a:xfrm flipH="1">
            <a:off x="7268907" y="2944546"/>
            <a:ext cx="2890448" cy="138875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46126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7AB4D0-50DB-C3C2-3F6A-295C682B325E}"/>
              </a:ext>
            </a:extLst>
          </p:cNvPr>
          <p:cNvSpPr>
            <a:spLocks noGrp="1"/>
          </p:cNvSpPr>
          <p:nvPr>
            <p:ph type="title"/>
          </p:nvPr>
        </p:nvSpPr>
        <p:spPr/>
        <p:txBody>
          <a:bodyPr/>
          <a:lstStyle/>
          <a:p>
            <a:r>
              <a:rPr lang="en-US"/>
              <a:t>Prompt Engineering</a:t>
            </a:r>
          </a:p>
        </p:txBody>
      </p:sp>
      <p:sp>
        <p:nvSpPr>
          <p:cNvPr id="4" name="Text Placeholder 3">
            <a:extLst>
              <a:ext uri="{FF2B5EF4-FFF2-40B4-BE49-F238E27FC236}">
                <a16:creationId xmlns:a16="http://schemas.microsoft.com/office/drawing/2014/main" id="{0A2E56AF-2DF7-2F23-D081-4A490834F8FD}"/>
              </a:ext>
            </a:extLst>
          </p:cNvPr>
          <p:cNvSpPr>
            <a:spLocks noGrp="1"/>
          </p:cNvSpPr>
          <p:nvPr>
            <p:ph type="body" sz="quarter" idx="10"/>
          </p:nvPr>
        </p:nvSpPr>
        <p:spPr>
          <a:xfrm>
            <a:off x="542647" y="814367"/>
            <a:ext cx="11098999" cy="498598"/>
          </a:xfrm>
        </p:spPr>
        <p:txBody>
          <a:bodyPr/>
          <a:lstStyle/>
          <a:p>
            <a:r>
              <a:rPr lang="en-US"/>
              <a:t>Using parameters and operational functions to customize queries </a:t>
            </a:r>
          </a:p>
          <a:p>
            <a:endParaRPr lang="en-US"/>
          </a:p>
        </p:txBody>
      </p:sp>
      <p:graphicFrame>
        <p:nvGraphicFramePr>
          <p:cNvPr id="6" name="Table 5">
            <a:extLst>
              <a:ext uri="{FF2B5EF4-FFF2-40B4-BE49-F238E27FC236}">
                <a16:creationId xmlns:a16="http://schemas.microsoft.com/office/drawing/2014/main" id="{BF8FB417-7408-80AE-C704-E4BC63142840}"/>
              </a:ext>
            </a:extLst>
          </p:cNvPr>
          <p:cNvGraphicFramePr>
            <a:graphicFrameLocks noGrp="1"/>
          </p:cNvGraphicFramePr>
          <p:nvPr>
            <p:extLst>
              <p:ext uri="{D42A27DB-BD31-4B8C-83A1-F6EECF244321}">
                <p14:modId xmlns:p14="http://schemas.microsoft.com/office/powerpoint/2010/main" val="3590267347"/>
              </p:ext>
            </p:extLst>
          </p:nvPr>
        </p:nvGraphicFramePr>
        <p:xfrm>
          <a:off x="6612779" y="2744991"/>
          <a:ext cx="4908660" cy="1802568"/>
        </p:xfrm>
        <a:graphic>
          <a:graphicData uri="http://schemas.openxmlformats.org/drawingml/2006/table">
            <a:tbl>
              <a:tblPr firstRow="1" bandRow="1">
                <a:tableStyleId>{69012ECD-51FC-41F1-AA8D-1B2483CD663E}</a:tableStyleId>
              </a:tblPr>
              <a:tblGrid>
                <a:gridCol w="2430636">
                  <a:extLst>
                    <a:ext uri="{9D8B030D-6E8A-4147-A177-3AD203B41FA5}">
                      <a16:colId xmlns:a16="http://schemas.microsoft.com/office/drawing/2014/main" val="4143274850"/>
                    </a:ext>
                  </a:extLst>
                </a:gridCol>
                <a:gridCol w="2478024">
                  <a:extLst>
                    <a:ext uri="{9D8B030D-6E8A-4147-A177-3AD203B41FA5}">
                      <a16:colId xmlns:a16="http://schemas.microsoft.com/office/drawing/2014/main" val="2998016101"/>
                    </a:ext>
                  </a:extLst>
                </a:gridCol>
              </a:tblGrid>
              <a:tr h="254179">
                <a:tc>
                  <a:txBody>
                    <a:bodyPr/>
                    <a:lstStyle/>
                    <a:p>
                      <a:pPr algn="ctr"/>
                      <a:r>
                        <a:rPr lang="en-US" sz="1200"/>
                        <a:t>Sample Parameters</a:t>
                      </a:r>
                    </a:p>
                  </a:txBody>
                  <a:tcPr/>
                </a:tc>
                <a:tc>
                  <a:txBody>
                    <a:bodyPr/>
                    <a:lstStyle/>
                    <a:p>
                      <a:pPr algn="ctr"/>
                      <a:r>
                        <a:rPr lang="en-US" sz="1200"/>
                        <a:t>Example</a:t>
                      </a:r>
                    </a:p>
                  </a:txBody>
                  <a:tcPr/>
                </a:tc>
                <a:extLst>
                  <a:ext uri="{0D108BD9-81ED-4DB2-BD59-A6C34878D82A}">
                    <a16:rowId xmlns:a16="http://schemas.microsoft.com/office/drawing/2014/main" val="1757014064"/>
                  </a:ext>
                </a:extLst>
              </a:tr>
              <a:tr h="215140">
                <a:tc>
                  <a:txBody>
                    <a:bodyPr/>
                    <a:lstStyle/>
                    <a:p>
                      <a:pPr algn="ctr"/>
                      <a:r>
                        <a:rPr lang="en-US" sz="1200"/>
                        <a:t>Roles</a:t>
                      </a:r>
                    </a:p>
                  </a:txBody>
                  <a:tcPr/>
                </a:tc>
                <a:tc>
                  <a:txBody>
                    <a:bodyPr/>
                    <a:lstStyle/>
                    <a:p>
                      <a:pPr algn="ctr"/>
                      <a:r>
                        <a:rPr lang="en-US" sz="1200"/>
                        <a:t>Analyst, Credit Officer</a:t>
                      </a:r>
                    </a:p>
                  </a:txBody>
                  <a:tcPr/>
                </a:tc>
                <a:extLst>
                  <a:ext uri="{0D108BD9-81ED-4DB2-BD59-A6C34878D82A}">
                    <a16:rowId xmlns:a16="http://schemas.microsoft.com/office/drawing/2014/main" val="371474833"/>
                  </a:ext>
                </a:extLst>
              </a:tr>
              <a:tr h="326536">
                <a:tc>
                  <a:txBody>
                    <a:bodyPr/>
                    <a:lstStyle/>
                    <a:p>
                      <a:pPr algn="ctr"/>
                      <a:r>
                        <a:rPr lang="en-US" sz="1200"/>
                        <a:t>$ Amount</a:t>
                      </a:r>
                    </a:p>
                  </a:txBody>
                  <a:tcPr/>
                </a:tc>
                <a:tc>
                  <a:txBody>
                    <a:bodyPr/>
                    <a:lstStyle/>
                    <a:p>
                      <a:pPr algn="ctr"/>
                      <a:r>
                        <a:rPr lang="en-US" sz="1200"/>
                        <a:t>0-$50K, $50k-100k</a:t>
                      </a:r>
                    </a:p>
                  </a:txBody>
                  <a:tcPr/>
                </a:tc>
                <a:extLst>
                  <a:ext uri="{0D108BD9-81ED-4DB2-BD59-A6C34878D82A}">
                    <a16:rowId xmlns:a16="http://schemas.microsoft.com/office/drawing/2014/main" val="3254497678"/>
                  </a:ext>
                </a:extLst>
              </a:tr>
              <a:tr h="326536">
                <a:tc>
                  <a:txBody>
                    <a:bodyPr/>
                    <a:lstStyle/>
                    <a:p>
                      <a:pPr algn="ctr"/>
                      <a:r>
                        <a:rPr lang="en-US" sz="1200" dirty="0"/>
                        <a:t>Time to complete a process</a:t>
                      </a:r>
                    </a:p>
                  </a:txBody>
                  <a:tcPr/>
                </a:tc>
                <a:tc>
                  <a:txBody>
                    <a:bodyPr/>
                    <a:lstStyle/>
                    <a:p>
                      <a:pPr algn="ctr"/>
                      <a:r>
                        <a:rPr lang="en-US" sz="1200" dirty="0"/>
                        <a:t>1-3 days, 3-5 days</a:t>
                      </a:r>
                    </a:p>
                  </a:txBody>
                  <a:tcPr/>
                </a:tc>
                <a:extLst>
                  <a:ext uri="{0D108BD9-81ED-4DB2-BD59-A6C34878D82A}">
                    <a16:rowId xmlns:a16="http://schemas.microsoft.com/office/drawing/2014/main" val="4135736187"/>
                  </a:ext>
                </a:extLst>
              </a:tr>
              <a:tr h="326536">
                <a:tc>
                  <a:txBody>
                    <a:bodyPr/>
                    <a:lstStyle/>
                    <a:p>
                      <a:pPr algn="ctr"/>
                      <a:r>
                        <a:rPr lang="en-US" sz="1200"/>
                        <a:t>Vendors </a:t>
                      </a:r>
                    </a:p>
                  </a:txBody>
                  <a:tcPr/>
                </a:tc>
                <a:tc>
                  <a:txBody>
                    <a:bodyPr/>
                    <a:lstStyle/>
                    <a:p>
                      <a:pPr algn="ctr"/>
                      <a:r>
                        <a:rPr lang="en-US" sz="1200"/>
                        <a:t>Precision Lender</a:t>
                      </a:r>
                    </a:p>
                  </a:txBody>
                  <a:tcPr/>
                </a:tc>
                <a:extLst>
                  <a:ext uri="{0D108BD9-81ED-4DB2-BD59-A6C34878D82A}">
                    <a16:rowId xmlns:a16="http://schemas.microsoft.com/office/drawing/2014/main" val="387266598"/>
                  </a:ext>
                </a:extLst>
              </a:tr>
              <a:tr h="239755">
                <a:tc>
                  <a:txBody>
                    <a:bodyPr/>
                    <a:lstStyle/>
                    <a:p>
                      <a:pPr algn="ctr"/>
                      <a:r>
                        <a:rPr lang="en-US" sz="1200"/>
                        <a:t>Procedure/Process</a:t>
                      </a:r>
                    </a:p>
                  </a:txBody>
                  <a:tcPr/>
                </a:tc>
                <a:tc>
                  <a:txBody>
                    <a:bodyPr/>
                    <a:lstStyle/>
                    <a:p>
                      <a:pPr algn="ctr"/>
                      <a:r>
                        <a:rPr lang="en-US" sz="1200" dirty="0"/>
                        <a:t>Credit check, Risk</a:t>
                      </a:r>
                    </a:p>
                  </a:txBody>
                  <a:tcPr/>
                </a:tc>
                <a:extLst>
                  <a:ext uri="{0D108BD9-81ED-4DB2-BD59-A6C34878D82A}">
                    <a16:rowId xmlns:a16="http://schemas.microsoft.com/office/drawing/2014/main" val="2039825086"/>
                  </a:ext>
                </a:extLst>
              </a:tr>
            </a:tbl>
          </a:graphicData>
        </a:graphic>
      </p:graphicFrame>
      <p:graphicFrame>
        <p:nvGraphicFramePr>
          <p:cNvPr id="7" name="Table 6">
            <a:extLst>
              <a:ext uri="{FF2B5EF4-FFF2-40B4-BE49-F238E27FC236}">
                <a16:creationId xmlns:a16="http://schemas.microsoft.com/office/drawing/2014/main" id="{6D096A1D-3498-1518-BAD0-29DA39BB1E7A}"/>
              </a:ext>
            </a:extLst>
          </p:cNvPr>
          <p:cNvGraphicFramePr>
            <a:graphicFrameLocks noGrp="1"/>
          </p:cNvGraphicFramePr>
          <p:nvPr>
            <p:extLst>
              <p:ext uri="{D42A27DB-BD31-4B8C-83A1-F6EECF244321}">
                <p14:modId xmlns:p14="http://schemas.microsoft.com/office/powerpoint/2010/main" val="458123992"/>
              </p:ext>
            </p:extLst>
          </p:nvPr>
        </p:nvGraphicFramePr>
        <p:xfrm>
          <a:off x="1262533" y="2744991"/>
          <a:ext cx="4316688" cy="1038060"/>
        </p:xfrm>
        <a:graphic>
          <a:graphicData uri="http://schemas.openxmlformats.org/drawingml/2006/table">
            <a:tbl>
              <a:tblPr firstRow="1" bandRow="1">
                <a:tableStyleId>{69012ECD-51FC-41F1-AA8D-1B2483CD663E}</a:tableStyleId>
              </a:tblPr>
              <a:tblGrid>
                <a:gridCol w="4316688">
                  <a:extLst>
                    <a:ext uri="{9D8B030D-6E8A-4147-A177-3AD203B41FA5}">
                      <a16:colId xmlns:a16="http://schemas.microsoft.com/office/drawing/2014/main" val="1093428367"/>
                    </a:ext>
                  </a:extLst>
                </a:gridCol>
              </a:tblGrid>
              <a:tr h="283834">
                <a:tc>
                  <a:txBody>
                    <a:bodyPr/>
                    <a:lstStyle/>
                    <a:p>
                      <a:pPr algn="ctr"/>
                      <a:r>
                        <a:rPr lang="en-US" sz="1200"/>
                        <a:t>Complexity measured by:</a:t>
                      </a:r>
                    </a:p>
                  </a:txBody>
                  <a:tcPr/>
                </a:tc>
                <a:extLst>
                  <a:ext uri="{0D108BD9-81ED-4DB2-BD59-A6C34878D82A}">
                    <a16:rowId xmlns:a16="http://schemas.microsoft.com/office/drawing/2014/main" val="17589186"/>
                  </a:ext>
                </a:extLst>
              </a:tr>
              <a:tr h="377113">
                <a:tc>
                  <a:txBody>
                    <a:bodyPr/>
                    <a:lstStyle/>
                    <a:p>
                      <a:pPr algn="l"/>
                      <a:r>
                        <a:rPr lang="en-US" sz="1200"/>
                        <a:t># of steps in process/procedures</a:t>
                      </a:r>
                    </a:p>
                  </a:txBody>
                  <a:tcPr/>
                </a:tc>
                <a:extLst>
                  <a:ext uri="{0D108BD9-81ED-4DB2-BD59-A6C34878D82A}">
                    <a16:rowId xmlns:a16="http://schemas.microsoft.com/office/drawing/2014/main" val="124778087"/>
                  </a:ext>
                </a:extLst>
              </a:tr>
              <a:tr h="377113">
                <a:tc>
                  <a:txBody>
                    <a:bodyPr/>
                    <a:lstStyle/>
                    <a:p>
                      <a:pPr algn="l"/>
                      <a:r>
                        <a:rPr lang="en-US" sz="1200" dirty="0"/>
                        <a:t># of decision points</a:t>
                      </a:r>
                    </a:p>
                  </a:txBody>
                  <a:tcPr/>
                </a:tc>
                <a:extLst>
                  <a:ext uri="{0D108BD9-81ED-4DB2-BD59-A6C34878D82A}">
                    <a16:rowId xmlns:a16="http://schemas.microsoft.com/office/drawing/2014/main" val="478297564"/>
                  </a:ext>
                </a:extLst>
              </a:tr>
            </a:tbl>
          </a:graphicData>
        </a:graphic>
      </p:graphicFrame>
      <p:sp>
        <p:nvSpPr>
          <p:cNvPr id="8" name="TextBox 7">
            <a:extLst>
              <a:ext uri="{FF2B5EF4-FFF2-40B4-BE49-F238E27FC236}">
                <a16:creationId xmlns:a16="http://schemas.microsoft.com/office/drawing/2014/main" id="{999CDA7F-9C3E-CDE1-0074-CF3F0B597761}"/>
              </a:ext>
            </a:extLst>
          </p:cNvPr>
          <p:cNvSpPr txBox="1"/>
          <p:nvPr/>
        </p:nvSpPr>
        <p:spPr>
          <a:xfrm>
            <a:off x="1262532" y="2199239"/>
            <a:ext cx="4316689" cy="461665"/>
          </a:xfrm>
          <a:prstGeom prst="rect">
            <a:avLst/>
          </a:prstGeom>
          <a:noFill/>
        </p:spPr>
        <p:txBody>
          <a:bodyPr wrap="square" rtlCol="0">
            <a:spAutoFit/>
          </a:bodyPr>
          <a:lstStyle/>
          <a:p>
            <a:pPr algn="ctr"/>
            <a:r>
              <a:rPr lang="en-US" sz="1200" b="1" dirty="0"/>
              <a:t>Complexity can be categorized as high, medium, or low based on the two attributes mentioned above.</a:t>
            </a:r>
            <a:endParaRPr lang="en-US" sz="1200" dirty="0"/>
          </a:p>
        </p:txBody>
      </p:sp>
      <p:graphicFrame>
        <p:nvGraphicFramePr>
          <p:cNvPr id="9" name="Table 8">
            <a:extLst>
              <a:ext uri="{FF2B5EF4-FFF2-40B4-BE49-F238E27FC236}">
                <a16:creationId xmlns:a16="http://schemas.microsoft.com/office/drawing/2014/main" id="{276A7958-5BEA-60A7-D8F2-72A8BEADA06E}"/>
              </a:ext>
            </a:extLst>
          </p:cNvPr>
          <p:cNvGraphicFramePr>
            <a:graphicFrameLocks noGrp="1"/>
          </p:cNvGraphicFramePr>
          <p:nvPr>
            <p:extLst>
              <p:ext uri="{D42A27DB-BD31-4B8C-83A1-F6EECF244321}">
                <p14:modId xmlns:p14="http://schemas.microsoft.com/office/powerpoint/2010/main" val="3261472590"/>
              </p:ext>
            </p:extLst>
          </p:nvPr>
        </p:nvGraphicFramePr>
        <p:xfrm>
          <a:off x="1262533" y="4102432"/>
          <a:ext cx="4316688" cy="1386840"/>
        </p:xfrm>
        <a:graphic>
          <a:graphicData uri="http://schemas.openxmlformats.org/drawingml/2006/table">
            <a:tbl>
              <a:tblPr firstRow="1" bandRow="1">
                <a:tableStyleId>{69012ECD-51FC-41F1-AA8D-1B2483CD663E}</a:tableStyleId>
              </a:tblPr>
              <a:tblGrid>
                <a:gridCol w="1438896">
                  <a:extLst>
                    <a:ext uri="{9D8B030D-6E8A-4147-A177-3AD203B41FA5}">
                      <a16:colId xmlns:a16="http://schemas.microsoft.com/office/drawing/2014/main" val="4008637269"/>
                    </a:ext>
                  </a:extLst>
                </a:gridCol>
                <a:gridCol w="1438896">
                  <a:extLst>
                    <a:ext uri="{9D8B030D-6E8A-4147-A177-3AD203B41FA5}">
                      <a16:colId xmlns:a16="http://schemas.microsoft.com/office/drawing/2014/main" val="1492754118"/>
                    </a:ext>
                  </a:extLst>
                </a:gridCol>
                <a:gridCol w="1438896">
                  <a:extLst>
                    <a:ext uri="{9D8B030D-6E8A-4147-A177-3AD203B41FA5}">
                      <a16:colId xmlns:a16="http://schemas.microsoft.com/office/drawing/2014/main" val="3676437006"/>
                    </a:ext>
                  </a:extLst>
                </a:gridCol>
              </a:tblGrid>
              <a:tr h="0">
                <a:tc>
                  <a:txBody>
                    <a:bodyPr/>
                    <a:lstStyle/>
                    <a:p>
                      <a:pPr algn="ctr"/>
                      <a:r>
                        <a:rPr lang="en-US" sz="1200"/>
                        <a:t># Steps</a:t>
                      </a:r>
                    </a:p>
                  </a:txBody>
                  <a:tcPr/>
                </a:tc>
                <a:tc>
                  <a:txBody>
                    <a:bodyPr/>
                    <a:lstStyle/>
                    <a:p>
                      <a:pPr algn="ctr"/>
                      <a:r>
                        <a:rPr lang="en-US" sz="1200"/>
                        <a:t># Decision Points</a:t>
                      </a:r>
                    </a:p>
                  </a:txBody>
                  <a:tcPr/>
                </a:tc>
                <a:tc>
                  <a:txBody>
                    <a:bodyPr/>
                    <a:lstStyle/>
                    <a:p>
                      <a:pPr algn="ctr"/>
                      <a:r>
                        <a:rPr lang="en-US" sz="1200"/>
                        <a:t>Complexity</a:t>
                      </a:r>
                    </a:p>
                  </a:txBody>
                  <a:tcPr/>
                </a:tc>
                <a:extLst>
                  <a:ext uri="{0D108BD9-81ED-4DB2-BD59-A6C34878D82A}">
                    <a16:rowId xmlns:a16="http://schemas.microsoft.com/office/drawing/2014/main" val="4219218236"/>
                  </a:ext>
                </a:extLst>
              </a:tr>
              <a:tr h="370840">
                <a:tc>
                  <a:txBody>
                    <a:bodyPr/>
                    <a:lstStyle/>
                    <a:p>
                      <a:pPr algn="ctr"/>
                      <a:r>
                        <a:rPr lang="en-US" sz="1200"/>
                        <a:t>1-5</a:t>
                      </a:r>
                    </a:p>
                  </a:txBody>
                  <a:tcPr/>
                </a:tc>
                <a:tc>
                  <a:txBody>
                    <a:bodyPr/>
                    <a:lstStyle/>
                    <a:p>
                      <a:pPr algn="ctr"/>
                      <a:r>
                        <a:rPr lang="en-US" sz="1200"/>
                        <a:t>1-3</a:t>
                      </a:r>
                    </a:p>
                  </a:txBody>
                  <a:tcPr/>
                </a:tc>
                <a:tc>
                  <a:txBody>
                    <a:bodyPr/>
                    <a:lstStyle/>
                    <a:p>
                      <a:pPr algn="ctr"/>
                      <a:r>
                        <a:rPr lang="en-US" sz="1200"/>
                        <a:t>Low</a:t>
                      </a:r>
                    </a:p>
                  </a:txBody>
                  <a:tcPr/>
                </a:tc>
                <a:extLst>
                  <a:ext uri="{0D108BD9-81ED-4DB2-BD59-A6C34878D82A}">
                    <a16:rowId xmlns:a16="http://schemas.microsoft.com/office/drawing/2014/main" val="1157361792"/>
                  </a:ext>
                </a:extLst>
              </a:tr>
              <a:tr h="370840">
                <a:tc>
                  <a:txBody>
                    <a:bodyPr/>
                    <a:lstStyle/>
                    <a:p>
                      <a:pPr algn="ctr"/>
                      <a:r>
                        <a:rPr lang="en-US" sz="1200"/>
                        <a:t>5-10</a:t>
                      </a:r>
                    </a:p>
                  </a:txBody>
                  <a:tcPr/>
                </a:tc>
                <a:tc>
                  <a:txBody>
                    <a:bodyPr/>
                    <a:lstStyle/>
                    <a:p>
                      <a:pPr algn="ctr"/>
                      <a:r>
                        <a:rPr lang="en-US" sz="1200"/>
                        <a:t>3-10</a:t>
                      </a:r>
                    </a:p>
                  </a:txBody>
                  <a:tcPr/>
                </a:tc>
                <a:tc>
                  <a:txBody>
                    <a:bodyPr/>
                    <a:lstStyle/>
                    <a:p>
                      <a:pPr algn="ctr"/>
                      <a:r>
                        <a:rPr lang="en-US" sz="1200"/>
                        <a:t>Medium</a:t>
                      </a:r>
                    </a:p>
                  </a:txBody>
                  <a:tcPr/>
                </a:tc>
                <a:extLst>
                  <a:ext uri="{0D108BD9-81ED-4DB2-BD59-A6C34878D82A}">
                    <a16:rowId xmlns:a16="http://schemas.microsoft.com/office/drawing/2014/main" val="1625722891"/>
                  </a:ext>
                </a:extLst>
              </a:tr>
              <a:tr h="370840">
                <a:tc>
                  <a:txBody>
                    <a:bodyPr/>
                    <a:lstStyle/>
                    <a:p>
                      <a:pPr algn="ctr"/>
                      <a:r>
                        <a:rPr lang="en-US" sz="1200"/>
                        <a:t>10+</a:t>
                      </a:r>
                    </a:p>
                  </a:txBody>
                  <a:tcPr/>
                </a:tc>
                <a:tc>
                  <a:txBody>
                    <a:bodyPr/>
                    <a:lstStyle/>
                    <a:p>
                      <a:pPr algn="ctr"/>
                      <a:r>
                        <a:rPr lang="en-US" sz="1200"/>
                        <a:t>10+</a:t>
                      </a:r>
                    </a:p>
                  </a:txBody>
                  <a:tcPr/>
                </a:tc>
                <a:tc>
                  <a:txBody>
                    <a:bodyPr/>
                    <a:lstStyle/>
                    <a:p>
                      <a:pPr algn="ctr"/>
                      <a:r>
                        <a:rPr lang="en-US" sz="1200" dirty="0"/>
                        <a:t>High</a:t>
                      </a:r>
                    </a:p>
                  </a:txBody>
                  <a:tcPr/>
                </a:tc>
                <a:extLst>
                  <a:ext uri="{0D108BD9-81ED-4DB2-BD59-A6C34878D82A}">
                    <a16:rowId xmlns:a16="http://schemas.microsoft.com/office/drawing/2014/main" val="1355978007"/>
                  </a:ext>
                </a:extLst>
              </a:tr>
            </a:tbl>
          </a:graphicData>
        </a:graphic>
      </p:graphicFrame>
      <p:sp>
        <p:nvSpPr>
          <p:cNvPr id="10" name="TextBox 9">
            <a:extLst>
              <a:ext uri="{FF2B5EF4-FFF2-40B4-BE49-F238E27FC236}">
                <a16:creationId xmlns:a16="http://schemas.microsoft.com/office/drawing/2014/main" id="{DA2677A7-C996-711D-1C86-B1135F1A71F6}"/>
              </a:ext>
            </a:extLst>
          </p:cNvPr>
          <p:cNvSpPr txBox="1"/>
          <p:nvPr/>
        </p:nvSpPr>
        <p:spPr>
          <a:xfrm>
            <a:off x="542647" y="1476944"/>
            <a:ext cx="11215156" cy="307777"/>
          </a:xfrm>
          <a:prstGeom prst="rect">
            <a:avLst/>
          </a:prstGeom>
          <a:noFill/>
        </p:spPr>
        <p:txBody>
          <a:bodyPr wrap="square" rtlCol="0">
            <a:spAutoFit/>
          </a:bodyPr>
          <a:lstStyle/>
          <a:p>
            <a:r>
              <a:rPr lang="en-US" sz="1400" b="1" dirty="0"/>
              <a:t>Capability: </a:t>
            </a:r>
            <a:r>
              <a:rPr lang="en-US" sz="1400" dirty="0"/>
              <a:t>The LLM can process </a:t>
            </a:r>
            <a:r>
              <a:rPr lang="en-US" sz="1400" dirty="0" err="1"/>
              <a:t>process</a:t>
            </a:r>
            <a:r>
              <a:rPr lang="en-US" sz="1400" dirty="0"/>
              <a:t> maps and generate written procedures, which can subsequently be queried using prompt engineering.</a:t>
            </a:r>
          </a:p>
        </p:txBody>
      </p:sp>
      <p:sp>
        <p:nvSpPr>
          <p:cNvPr id="11" name="TextBox 10">
            <a:extLst>
              <a:ext uri="{FF2B5EF4-FFF2-40B4-BE49-F238E27FC236}">
                <a16:creationId xmlns:a16="http://schemas.microsoft.com/office/drawing/2014/main" id="{C7E640F0-61D5-ABDA-5AF3-785F6E331C15}"/>
              </a:ext>
            </a:extLst>
          </p:cNvPr>
          <p:cNvSpPr txBox="1"/>
          <p:nvPr/>
        </p:nvSpPr>
        <p:spPr>
          <a:xfrm>
            <a:off x="662853" y="5754210"/>
            <a:ext cx="10978793" cy="523220"/>
          </a:xfrm>
          <a:prstGeom prst="rect">
            <a:avLst/>
          </a:prstGeom>
          <a:noFill/>
        </p:spPr>
        <p:txBody>
          <a:bodyPr wrap="square" rtlCol="0">
            <a:spAutoFit/>
          </a:bodyPr>
          <a:lstStyle/>
          <a:p>
            <a:pPr algn="ctr"/>
            <a:r>
              <a:rPr lang="en-US" sz="1400" b="1" dirty="0"/>
              <a:t>Sample Query: “</a:t>
            </a:r>
            <a:r>
              <a:rPr lang="en-US" sz="1400" dirty="0"/>
              <a:t>Retrieve all processes where [complexity] is </a:t>
            </a:r>
            <a:r>
              <a:rPr lang="en-US" sz="1400" b="1" dirty="0"/>
              <a:t>High</a:t>
            </a:r>
            <a:r>
              <a:rPr lang="en-US" sz="1400" dirty="0"/>
              <a:t>, [procedure/process] includes Credit check, and [amount] is less than $500K, requiring approval from the [role] of credit officer.”</a:t>
            </a:r>
          </a:p>
        </p:txBody>
      </p:sp>
      <p:sp>
        <p:nvSpPr>
          <p:cNvPr id="12" name="TextBox 11">
            <a:extLst>
              <a:ext uri="{FF2B5EF4-FFF2-40B4-BE49-F238E27FC236}">
                <a16:creationId xmlns:a16="http://schemas.microsoft.com/office/drawing/2014/main" id="{D220DE2A-1D82-1A4E-736B-420C0ED6455D}"/>
              </a:ext>
            </a:extLst>
          </p:cNvPr>
          <p:cNvSpPr txBox="1"/>
          <p:nvPr/>
        </p:nvSpPr>
        <p:spPr>
          <a:xfrm>
            <a:off x="6612780" y="2186050"/>
            <a:ext cx="4908659" cy="461665"/>
          </a:xfrm>
          <a:prstGeom prst="rect">
            <a:avLst/>
          </a:prstGeom>
          <a:noFill/>
        </p:spPr>
        <p:txBody>
          <a:bodyPr wrap="square" rtlCol="0">
            <a:spAutoFit/>
          </a:bodyPr>
          <a:lstStyle/>
          <a:p>
            <a:pPr algn="ctr"/>
            <a:r>
              <a:rPr lang="en-US" sz="1200" dirty="0"/>
              <a:t>Associated metadata and process information serve as the </a:t>
            </a:r>
            <a:r>
              <a:rPr lang="en-US" sz="1200" dirty="0" err="1"/>
              <a:t>queryable</a:t>
            </a:r>
            <a:r>
              <a:rPr lang="en-US" sz="1200" dirty="0"/>
              <a:t> data for the LLM to leverage within the data pool.</a:t>
            </a:r>
            <a:endParaRPr lang="en-US" sz="1200" b="1" dirty="0"/>
          </a:p>
        </p:txBody>
      </p:sp>
    </p:spTree>
    <p:extLst>
      <p:ext uri="{BB962C8B-B14F-4D97-AF65-F5344CB8AC3E}">
        <p14:creationId xmlns:p14="http://schemas.microsoft.com/office/powerpoint/2010/main" val="23015321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06DC90-FBF1-D691-30D0-14DA791335E0}"/>
              </a:ext>
            </a:extLst>
          </p:cNvPr>
          <p:cNvSpPr>
            <a:spLocks noGrp="1"/>
          </p:cNvSpPr>
          <p:nvPr>
            <p:ph type="title"/>
          </p:nvPr>
        </p:nvSpPr>
        <p:spPr/>
        <p:txBody>
          <a:bodyPr/>
          <a:lstStyle/>
          <a:p>
            <a:r>
              <a:rPr lang="en-US"/>
              <a:t>Additional Information</a:t>
            </a:r>
          </a:p>
        </p:txBody>
      </p:sp>
      <p:sp>
        <p:nvSpPr>
          <p:cNvPr id="3" name="Text Placeholder 2">
            <a:extLst>
              <a:ext uri="{FF2B5EF4-FFF2-40B4-BE49-F238E27FC236}">
                <a16:creationId xmlns:a16="http://schemas.microsoft.com/office/drawing/2014/main" id="{7C3A6C58-72A0-3926-A241-3CE40C6580B8}"/>
              </a:ext>
            </a:extLst>
          </p:cNvPr>
          <p:cNvSpPr>
            <a:spLocks noGrp="1"/>
          </p:cNvSpPr>
          <p:nvPr>
            <p:ph type="body" sz="quarter" idx="10"/>
          </p:nvPr>
        </p:nvSpPr>
        <p:spPr/>
        <p:txBody>
          <a:bodyPr/>
          <a:lstStyle/>
          <a:p>
            <a:r>
              <a:rPr lang="en-US"/>
              <a:t>LLM related information and constraints</a:t>
            </a:r>
          </a:p>
        </p:txBody>
      </p:sp>
    </p:spTree>
    <p:extLst>
      <p:ext uri="{BB962C8B-B14F-4D97-AF65-F5344CB8AC3E}">
        <p14:creationId xmlns:p14="http://schemas.microsoft.com/office/powerpoint/2010/main" val="9483170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L1.mYA01oU6yjra3SXLIOQ"/>
</p:tagLst>
</file>

<file path=ppt/theme/theme1.xml><?xml version="1.0" encoding="utf-8"?>
<a:theme xmlns:a="http://schemas.openxmlformats.org/drawingml/2006/main" name="Standard Template Short">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sz="1400" dirty="0"/>
        </a:defPPr>
      </a:lstStyle>
    </a:txDef>
  </a:objectDefaults>
  <a:extraClrSchemeLst/>
  <a:extLst>
    <a:ext uri="{05A4C25C-085E-4340-85A3-A5531E510DB2}">
      <thm15:themeFamily xmlns:thm15="http://schemas.microsoft.com/office/thememl/2012/main" name="Gen AI PowerPoint Template.potx" id="{12F180D7-3EA3-48C0-84B9-B3BC25DB1E8B}" vid="{A4421202-5F19-45F1-BE55-96EC9A6B9AE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8">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A208AEBF-FF5B-43D0-8ACD-0FAE71154691}">
  <we:reference id="wa104381063" version="1.0.0.1" store="en-US" storeType="OMEX"/>
  <we:alternateReferences>
    <we:reference id="wa104381063" version="1.0.0.1" store=""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28EFFF0DA1D5B4DBF8249BED08561BB" ma:contentTypeVersion="14" ma:contentTypeDescription="Create a new document." ma:contentTypeScope="" ma:versionID="a7261c99117a37884fb2381e426af286">
  <xsd:schema xmlns:xsd="http://www.w3.org/2001/XMLSchema" xmlns:xs="http://www.w3.org/2001/XMLSchema" xmlns:p="http://schemas.microsoft.com/office/2006/metadata/properties" xmlns:ns2="ec3c6018-09f5-4809-9b5d-e2bfca705c08" xmlns:ns3="71029cba-dcc4-4484-8c29-432787023710" targetNamespace="http://schemas.microsoft.com/office/2006/metadata/properties" ma:root="true" ma:fieldsID="b17baf83a3be32f4ab974722beed2842" ns2:_="" ns3:_="">
    <xsd:import namespace="ec3c6018-09f5-4809-9b5d-e2bfca705c08"/>
    <xsd:import namespace="71029cba-dcc4-4484-8c29-432787023710"/>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ObjectDetectorVersion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LengthInSecond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c3c6018-09f5-4809-9b5d-e2bfca705c08"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Image Tags" ma:readOnly="false" ma:fieldId="{5cf76f15-5ced-4ddc-b409-7134ff3c332f}" ma:taxonomyMulti="true" ma:sspId="18306e37-2ff6-40dd-9fb1-708650ca7a10"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1029cba-dcc4-4484-8c29-432787023710"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b8e93fb8-11cf-4011-94d4-f27d3df68ba2}" ma:internalName="TaxCatchAll" ma:showField="CatchAllData" ma:web="71029cba-dcc4-4484-8c29-432787023710">
      <xsd:complexType>
        <xsd:complexContent>
          <xsd:extension base="dms:MultiChoiceLookup">
            <xsd:sequence>
              <xsd:element name="Value" type="dms:Lookup" maxOccurs="unbounded" minOccurs="0" nillable="true"/>
            </xsd:sequence>
          </xsd:extension>
        </xsd:complexContent>
      </xsd:complexType>
    </xsd:element>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71029cba-dcc4-4484-8c29-432787023710" xsi:nil="true"/>
    <lcf76f155ced4ddcb4097134ff3c332f xmlns="ec3c6018-09f5-4809-9b5d-e2bfca705c08">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7641E42-4869-48F9-93E1-596B44187EB5}">
  <ds:schemaRefs>
    <ds:schemaRef ds:uri="71029cba-dcc4-4484-8c29-432787023710"/>
    <ds:schemaRef ds:uri="ec3c6018-09f5-4809-9b5d-e2bfca705c0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1C82509E-5EC9-41CF-9D10-4C0FF3BEA67B}">
  <ds:schemaRefs>
    <ds:schemaRef ds:uri="71029cba-dcc4-4484-8c29-432787023710"/>
    <ds:schemaRef ds:uri="ec3c6018-09f5-4809-9b5d-e2bfca705c0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B884E710-2B0E-40D6-9590-5D7AD17059B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Gen AI PowerPoint Template</Template>
  <TotalTime>25</TotalTime>
  <Words>599</Words>
  <Application>Microsoft Office PowerPoint</Application>
  <PresentationFormat>Widescreen</PresentationFormat>
  <Paragraphs>85</Paragraphs>
  <Slides>6</Slides>
  <Notes>2</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6</vt:i4>
      </vt:variant>
    </vt:vector>
  </HeadingPairs>
  <TitlesOfParts>
    <vt:vector size="14" baseType="lpstr">
      <vt:lpstr>ＭＳ Ｐゴシック</vt:lpstr>
      <vt:lpstr>Aptos</vt:lpstr>
      <vt:lpstr>Arial</vt:lpstr>
      <vt:lpstr>Arial Narrow</vt:lpstr>
      <vt:lpstr>Calibri</vt:lpstr>
      <vt:lpstr>Century Gothic</vt:lpstr>
      <vt:lpstr>Wingdings</vt:lpstr>
      <vt:lpstr>Standard Template Short</vt:lpstr>
      <vt:lpstr>DATA BRICKS HACKATHON</vt:lpstr>
      <vt:lpstr>Our Understanding</vt:lpstr>
      <vt:lpstr>Solution | TRANSFORM WITH MODERN AI CAPABILITIES</vt:lpstr>
      <vt:lpstr>LLM Strategy for Process Optimization</vt:lpstr>
      <vt:lpstr>Prompt Engineering</vt:lpstr>
      <vt:lpstr>Additional Inform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volutionize Group Activity Planning with AI-Powered Efficiency</dc:title>
  <dc:creator>Shlyankevich, Levi</dc:creator>
  <cp:lastModifiedBy>Singh Thakur, Vighnesh</cp:lastModifiedBy>
  <cp:revision>3</cp:revision>
  <dcterms:created xsi:type="dcterms:W3CDTF">2024-07-30T13:56:29Z</dcterms:created>
  <dcterms:modified xsi:type="dcterms:W3CDTF">2024-10-18T14:13: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28EFFF0DA1D5B4DBF8249BED08561BB</vt:lpwstr>
  </property>
  <property fmtid="{D5CDD505-2E9C-101B-9397-08002B2CF9AE}" pid="3" name="MediaServiceImageTags">
    <vt:lpwstr/>
  </property>
</Properties>
</file>